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81" r:id="rId3"/>
  </p:sldMasterIdLst>
  <p:notesMasterIdLst>
    <p:notesMasterId r:id="rId49"/>
  </p:notesMasterIdLst>
  <p:sldIdLst>
    <p:sldId id="257" r:id="rId4"/>
    <p:sldId id="2147474888" r:id="rId5"/>
    <p:sldId id="2147474885" r:id="rId6"/>
    <p:sldId id="2147474887" r:id="rId7"/>
    <p:sldId id="2147474877" r:id="rId8"/>
    <p:sldId id="2147474858" r:id="rId9"/>
    <p:sldId id="2147474859" r:id="rId10"/>
    <p:sldId id="2147474861" r:id="rId11"/>
    <p:sldId id="2147474862" r:id="rId12"/>
    <p:sldId id="2147474889" r:id="rId13"/>
    <p:sldId id="2147474892" r:id="rId14"/>
    <p:sldId id="2147474893" r:id="rId15"/>
    <p:sldId id="2147474894" r:id="rId16"/>
    <p:sldId id="2147474880" r:id="rId17"/>
    <p:sldId id="2147474891" r:id="rId18"/>
    <p:sldId id="2147474881" r:id="rId19"/>
    <p:sldId id="2147474868" r:id="rId20"/>
    <p:sldId id="2147474865" r:id="rId21"/>
    <p:sldId id="2147474863" r:id="rId22"/>
    <p:sldId id="2147474866" r:id="rId23"/>
    <p:sldId id="2147474869" r:id="rId24"/>
    <p:sldId id="2147474895" r:id="rId25"/>
    <p:sldId id="2147474876" r:id="rId26"/>
    <p:sldId id="2147474878" r:id="rId27"/>
    <p:sldId id="2147474879" r:id="rId28"/>
    <p:sldId id="2147474839" r:id="rId29"/>
    <p:sldId id="322" r:id="rId30"/>
    <p:sldId id="315" r:id="rId31"/>
    <p:sldId id="320" r:id="rId32"/>
    <p:sldId id="2147474870" r:id="rId33"/>
    <p:sldId id="2147474845" r:id="rId34"/>
    <p:sldId id="2147474847" r:id="rId35"/>
    <p:sldId id="2147474871" r:id="rId36"/>
    <p:sldId id="2147474846" r:id="rId37"/>
    <p:sldId id="2147474848" r:id="rId38"/>
    <p:sldId id="2147474872" r:id="rId39"/>
    <p:sldId id="260" r:id="rId40"/>
    <p:sldId id="2147474851" r:id="rId41"/>
    <p:sldId id="2147474873" r:id="rId42"/>
    <p:sldId id="264" r:id="rId43"/>
    <p:sldId id="2147474850" r:id="rId44"/>
    <p:sldId id="2147474874" r:id="rId45"/>
    <p:sldId id="265" r:id="rId46"/>
    <p:sldId id="2147474875" r:id="rId47"/>
    <p:sldId id="2147474841" r:id="rId48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A555"/>
    <a:srgbClr val="D45F5F"/>
    <a:srgbClr val="C0DDBD"/>
    <a:srgbClr val="EFCCD6"/>
    <a:srgbClr val="007AB2"/>
    <a:srgbClr val="95DDFB"/>
    <a:srgbClr val="FED25C"/>
    <a:srgbClr val="003781"/>
    <a:srgbClr val="5A5260"/>
    <a:srgbClr val="F86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23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presProps" Target="presProps.xml"/><Relationship Id="rId55" Type="http://schemas.openxmlformats.org/officeDocument/2006/relationships/customXml" Target="../customXml/item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customXml" Target="../customXml/item2.xml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notesMaster" Target="notesMasters/notesMaster1.xml"/><Relationship Id="rId57" Type="http://schemas.openxmlformats.org/officeDocument/2006/relationships/customXml" Target="../customXml/item3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chner, Pirmin (Allianz SE)" userId="S::pirmin.lechner@allianz.com::4ff95c5a-ccbc-4dc8-af2b-255f1ed8d179" providerId="AD" clId="Web-{7885C714-9A6C-41DA-86AA-9A22038C15B9}"/>
    <pc:docChg chg="addSld delSld modSld">
      <pc:chgData name="Lechner, Pirmin (Allianz SE)" userId="S::pirmin.lechner@allianz.com::4ff95c5a-ccbc-4dc8-af2b-255f1ed8d179" providerId="AD" clId="Web-{7885C714-9A6C-41DA-86AA-9A22038C15B9}" dt="2022-12-19T13:55:53.613" v="11"/>
      <pc:docMkLst>
        <pc:docMk/>
      </pc:docMkLst>
      <pc:sldChg chg="del">
        <pc:chgData name="Lechner, Pirmin (Allianz SE)" userId="S::pirmin.lechner@allianz.com::4ff95c5a-ccbc-4dc8-af2b-255f1ed8d179" providerId="AD" clId="Web-{7885C714-9A6C-41DA-86AA-9A22038C15B9}" dt="2022-12-19T13:54:31.595" v="3"/>
        <pc:sldMkLst>
          <pc:docMk/>
          <pc:sldMk cId="3181318554" sldId="2147474883"/>
        </pc:sldMkLst>
      </pc:sldChg>
      <pc:sldChg chg="addSp delSp modSp add del replId">
        <pc:chgData name="Lechner, Pirmin (Allianz SE)" userId="S::pirmin.lechner@allianz.com::4ff95c5a-ccbc-4dc8-af2b-255f1ed8d179" providerId="AD" clId="Web-{7885C714-9A6C-41DA-86AA-9A22038C15B9}" dt="2022-12-19T13:55:53.613" v="11"/>
        <pc:sldMkLst>
          <pc:docMk/>
          <pc:sldMk cId="41143760" sldId="2147474890"/>
        </pc:sldMkLst>
        <pc:spChg chg="add del mod">
          <ac:chgData name="Lechner, Pirmin (Allianz SE)" userId="S::pirmin.lechner@allianz.com::4ff95c5a-ccbc-4dc8-af2b-255f1ed8d179" providerId="AD" clId="Web-{7885C714-9A6C-41DA-86AA-9A22038C15B9}" dt="2022-12-19T13:54:14.828" v="2"/>
          <ac:spMkLst>
            <pc:docMk/>
            <pc:sldMk cId="41143760" sldId="2147474890"/>
            <ac:spMk id="6" creationId="{91C3A0A1-FDA1-164A-8279-637EB4FB3134}"/>
          </ac:spMkLst>
        </pc:spChg>
        <pc:picChg chg="del">
          <ac:chgData name="Lechner, Pirmin (Allianz SE)" userId="S::pirmin.lechner@allianz.com::4ff95c5a-ccbc-4dc8-af2b-255f1ed8d179" providerId="AD" clId="Web-{7885C714-9A6C-41DA-86AA-9A22038C15B9}" dt="2022-12-19T13:54:12.235" v="1"/>
          <ac:picMkLst>
            <pc:docMk/>
            <pc:sldMk cId="41143760" sldId="2147474890"/>
            <ac:picMk id="5" creationId="{0F113D83-DDA9-43ED-A692-F910ECB138EA}"/>
          </ac:picMkLst>
        </pc:picChg>
        <pc:picChg chg="add mod ord">
          <ac:chgData name="Lechner, Pirmin (Allianz SE)" userId="S::pirmin.lechner@allianz.com::4ff95c5a-ccbc-4dc8-af2b-255f1ed8d179" providerId="AD" clId="Web-{7885C714-9A6C-41DA-86AA-9A22038C15B9}" dt="2022-12-19T13:54:14.828" v="2"/>
          <ac:picMkLst>
            <pc:docMk/>
            <pc:sldMk cId="41143760" sldId="2147474890"/>
            <ac:picMk id="7" creationId="{F6C80C04-02EC-FC78-DF78-1D07BFFB7D10}"/>
          </ac:picMkLst>
        </pc:picChg>
      </pc:sldChg>
      <pc:sldChg chg="addSp delSp modSp add replId">
        <pc:chgData name="Lechner, Pirmin (Allianz SE)" userId="S::pirmin.lechner@allianz.com::4ff95c5a-ccbc-4dc8-af2b-255f1ed8d179" providerId="AD" clId="Web-{7885C714-9A6C-41DA-86AA-9A22038C15B9}" dt="2022-12-19T13:55:37.707" v="10" actId="1076"/>
        <pc:sldMkLst>
          <pc:docMk/>
          <pc:sldMk cId="1961007263" sldId="2147474891"/>
        </pc:sldMkLst>
        <pc:spChg chg="add del mod">
          <ac:chgData name="Lechner, Pirmin (Allianz SE)" userId="S::pirmin.lechner@allianz.com::4ff95c5a-ccbc-4dc8-af2b-255f1ed8d179" providerId="AD" clId="Web-{7885C714-9A6C-41DA-86AA-9A22038C15B9}" dt="2022-12-19T13:55:19.800" v="6"/>
          <ac:spMkLst>
            <pc:docMk/>
            <pc:sldMk cId="1961007263" sldId="2147474891"/>
            <ac:spMk id="5" creationId="{B8CFE2E9-DC87-79D8-3E0A-C25BBAE7217B}"/>
          </ac:spMkLst>
        </pc:spChg>
        <pc:picChg chg="add mod ord">
          <ac:chgData name="Lechner, Pirmin (Allianz SE)" userId="S::pirmin.lechner@allianz.com::4ff95c5a-ccbc-4dc8-af2b-255f1ed8d179" providerId="AD" clId="Web-{7885C714-9A6C-41DA-86AA-9A22038C15B9}" dt="2022-12-19T13:55:37.707" v="10" actId="1076"/>
          <ac:picMkLst>
            <pc:docMk/>
            <pc:sldMk cId="1961007263" sldId="2147474891"/>
            <ac:picMk id="6" creationId="{E32D31B7-25B2-2A6B-8E4D-58096B9B857F}"/>
          </ac:picMkLst>
        </pc:picChg>
        <pc:picChg chg="del">
          <ac:chgData name="Lechner, Pirmin (Allianz SE)" userId="S::pirmin.lechner@allianz.com::4ff95c5a-ccbc-4dc8-af2b-255f1ed8d179" providerId="AD" clId="Web-{7885C714-9A6C-41DA-86AA-9A22038C15B9}" dt="2022-12-19T13:55:17.128" v="5"/>
          <ac:picMkLst>
            <pc:docMk/>
            <pc:sldMk cId="1961007263" sldId="2147474891"/>
            <ac:picMk id="7" creationId="{F6C80C04-02EC-FC78-DF78-1D07BFFB7D10}"/>
          </ac:picMkLst>
        </pc:picChg>
      </pc:sldChg>
    </pc:docChg>
  </pc:docChgLst>
  <pc:docChgLst>
    <pc:chgData name="Hughes, Maximilian (Allianz SE)" userId="S::maximilian.hughes@allianz.com::8b6e1f16-7bab-4630-9a61-b47c1b7fe2d8" providerId="AD" clId="Web-{BA0DD81F-22B3-373A-6FB2-D48150A861E6}"/>
    <pc:docChg chg="addSld modSld sldOrd">
      <pc:chgData name="Hughes, Maximilian (Allianz SE)" userId="S::maximilian.hughes@allianz.com::8b6e1f16-7bab-4630-9a61-b47c1b7fe2d8" providerId="AD" clId="Web-{BA0DD81F-22B3-373A-6FB2-D48150A861E6}" dt="2022-12-19T16:19:00.554" v="255" actId="1076"/>
      <pc:docMkLst>
        <pc:docMk/>
      </pc:docMkLst>
      <pc:sldChg chg="addSp delSp modSp add ord replId">
        <pc:chgData name="Hughes, Maximilian (Allianz SE)" userId="S::maximilian.hughes@allianz.com::8b6e1f16-7bab-4630-9a61-b47c1b7fe2d8" providerId="AD" clId="Web-{BA0DD81F-22B3-373A-6FB2-D48150A861E6}" dt="2022-12-19T16:19:00.554" v="255" actId="1076"/>
        <pc:sldMkLst>
          <pc:docMk/>
          <pc:sldMk cId="1360301573" sldId="2147474889"/>
        </pc:sldMkLst>
        <pc:spChg chg="mod">
          <ac:chgData name="Hughes, Maximilian (Allianz SE)" userId="S::maximilian.hughes@allianz.com::8b6e1f16-7bab-4630-9a61-b47c1b7fe2d8" providerId="AD" clId="Web-{BA0DD81F-22B3-373A-6FB2-D48150A861E6}" dt="2022-12-19T13:39:19.841" v="13" actId="20577"/>
          <ac:spMkLst>
            <pc:docMk/>
            <pc:sldMk cId="1360301573" sldId="2147474889"/>
            <ac:spMk id="3" creationId="{79D18386-D41B-4EDC-AD50-873AFB55DAA8}"/>
          </ac:spMkLst>
        </pc:spChg>
        <pc:spChg chg="add del mod">
          <ac:chgData name="Hughes, Maximilian (Allianz SE)" userId="S::maximilian.hughes@allianz.com::8b6e1f16-7bab-4630-9a61-b47c1b7fe2d8" providerId="AD" clId="Web-{BA0DD81F-22B3-373A-6FB2-D48150A861E6}" dt="2022-12-19T15:45:19.926" v="21"/>
          <ac:spMkLst>
            <pc:docMk/>
            <pc:sldMk cId="1360301573" sldId="2147474889"/>
            <ac:spMk id="5" creationId="{CA991C7C-2DE4-7ACA-7EAA-1702CAE84206}"/>
          </ac:spMkLst>
        </pc:spChg>
        <pc:spChg chg="add del mod">
          <ac:chgData name="Hughes, Maximilian (Allianz SE)" userId="S::maximilian.hughes@allianz.com::8b6e1f16-7bab-4630-9a61-b47c1b7fe2d8" providerId="AD" clId="Web-{BA0DD81F-22B3-373A-6FB2-D48150A861E6}" dt="2022-12-19T15:50:02.527" v="24"/>
          <ac:spMkLst>
            <pc:docMk/>
            <pc:sldMk cId="1360301573" sldId="2147474889"/>
            <ac:spMk id="7" creationId="{249BD4CC-2BB1-4F13-4AFB-8F1C7D1C5941}"/>
          </ac:spMkLst>
        </pc:spChg>
        <pc:spChg chg="add mod">
          <ac:chgData name="Hughes, Maximilian (Allianz SE)" userId="S::maximilian.hughes@allianz.com::8b6e1f16-7bab-4630-9a61-b47c1b7fe2d8" providerId="AD" clId="Web-{BA0DD81F-22B3-373A-6FB2-D48150A861E6}" dt="2022-12-19T16:19:00.554" v="255" actId="1076"/>
          <ac:spMkLst>
            <pc:docMk/>
            <pc:sldMk cId="1360301573" sldId="2147474889"/>
            <ac:spMk id="12" creationId="{81529A3D-577A-7CF2-558C-625181CAC25D}"/>
          </ac:spMkLst>
        </pc:spChg>
        <pc:spChg chg="add del mod">
          <ac:chgData name="Hughes, Maximilian (Allianz SE)" userId="S::maximilian.hughes@allianz.com::8b6e1f16-7bab-4630-9a61-b47c1b7fe2d8" providerId="AD" clId="Web-{BA0DD81F-22B3-373A-6FB2-D48150A861E6}" dt="2022-12-19T16:04:57.252" v="126"/>
          <ac:spMkLst>
            <pc:docMk/>
            <pc:sldMk cId="1360301573" sldId="2147474889"/>
            <ac:spMk id="14" creationId="{C0F6A4EE-B81A-C760-039A-CD3AB1C9C07E}"/>
          </ac:spMkLst>
        </pc:spChg>
        <pc:picChg chg="add del mod ord">
          <ac:chgData name="Hughes, Maximilian (Allianz SE)" userId="S::maximilian.hughes@allianz.com::8b6e1f16-7bab-4630-9a61-b47c1b7fe2d8" providerId="AD" clId="Web-{BA0DD81F-22B3-373A-6FB2-D48150A861E6}" dt="2022-12-19T15:50:00.730" v="23"/>
          <ac:picMkLst>
            <pc:docMk/>
            <pc:sldMk cId="1360301573" sldId="2147474889"/>
            <ac:picMk id="4" creationId="{5F0ACF5D-7E37-DA31-9300-1886539F41F3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18.187" v="14"/>
          <ac:picMkLst>
            <pc:docMk/>
            <pc:sldMk cId="1360301573" sldId="2147474889"/>
            <ac:picMk id="6" creationId="{C5A5A7D5-CF3B-4559-A93A-B84088E7C1F3}"/>
          </ac:picMkLst>
        </pc:picChg>
        <pc:picChg chg="add del mod ord">
          <ac:chgData name="Hughes, Maximilian (Allianz SE)" userId="S::maximilian.hughes@allianz.com::8b6e1f16-7bab-4630-9a61-b47c1b7fe2d8" providerId="AD" clId="Web-{BA0DD81F-22B3-373A-6FB2-D48150A861E6}" dt="2022-12-19T16:05:04.862" v="128" actId="1076"/>
          <ac:picMkLst>
            <pc:docMk/>
            <pc:sldMk cId="1360301573" sldId="2147474889"/>
            <ac:picMk id="8" creationId="{693EFB0C-2B2A-8ED1-8E55-59EBB491BADE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18.249" v="15"/>
          <ac:picMkLst>
            <pc:docMk/>
            <pc:sldMk cId="1360301573" sldId="2147474889"/>
            <ac:picMk id="8" creationId="{DAE15609-E593-45F2-B259-D0E09D6EB08C}"/>
          </ac:picMkLst>
        </pc:picChg>
        <pc:picChg chg="add del mod">
          <ac:chgData name="Hughes, Maximilian (Allianz SE)" userId="S::maximilian.hughes@allianz.com::8b6e1f16-7bab-4630-9a61-b47c1b7fe2d8" providerId="AD" clId="Web-{BA0DD81F-22B3-373A-6FB2-D48150A861E6}" dt="2022-12-19T16:00:35.730" v="76"/>
          <ac:picMkLst>
            <pc:docMk/>
            <pc:sldMk cId="1360301573" sldId="2147474889"/>
            <ac:picMk id="9" creationId="{33181B6F-5FD5-F49A-9D65-3CE86EEC25C5}"/>
          </ac:picMkLst>
        </pc:picChg>
        <pc:picChg chg="add del mod">
          <ac:chgData name="Hughes, Maximilian (Allianz SE)" userId="S::maximilian.hughes@allianz.com::8b6e1f16-7bab-4630-9a61-b47c1b7fe2d8" providerId="AD" clId="Web-{BA0DD81F-22B3-373A-6FB2-D48150A861E6}" dt="2022-12-19T16:00:33.433" v="75"/>
          <ac:picMkLst>
            <pc:docMk/>
            <pc:sldMk cId="1360301573" sldId="2147474889"/>
            <ac:picMk id="10" creationId="{013AB439-1F33-200B-00F9-3BD1A45B67A8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18.281" v="16"/>
          <ac:picMkLst>
            <pc:docMk/>
            <pc:sldMk cId="1360301573" sldId="2147474889"/>
            <ac:picMk id="10" creationId="{8E36B38D-CD8B-435D-A40A-C82EC6685C68}"/>
          </ac:picMkLst>
        </pc:picChg>
        <pc:picChg chg="add del mod">
          <ac:chgData name="Hughes, Maximilian (Allianz SE)" userId="S::maximilian.hughes@allianz.com::8b6e1f16-7bab-4630-9a61-b47c1b7fe2d8" providerId="AD" clId="Web-{BA0DD81F-22B3-373A-6FB2-D48150A861E6}" dt="2022-12-19T16:00:36.871" v="77"/>
          <ac:picMkLst>
            <pc:docMk/>
            <pc:sldMk cId="1360301573" sldId="2147474889"/>
            <ac:picMk id="11" creationId="{CEB192AD-1CA8-0089-3276-0C0A81AC8418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18.312" v="17"/>
          <ac:picMkLst>
            <pc:docMk/>
            <pc:sldMk cId="1360301573" sldId="2147474889"/>
            <ac:picMk id="12" creationId="{1531874B-D167-4152-BA5C-BC740B43B81F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20.265" v="18"/>
          <ac:picMkLst>
            <pc:docMk/>
            <pc:sldMk cId="1360301573" sldId="2147474889"/>
            <ac:picMk id="14" creationId="{A278D84D-D951-4F2A-A339-578E9AECA070}"/>
          </ac:picMkLst>
        </pc:picChg>
        <pc:picChg chg="add del mod ord">
          <ac:chgData name="Hughes, Maximilian (Allianz SE)" userId="S::maximilian.hughes@allianz.com::8b6e1f16-7bab-4630-9a61-b47c1b7fe2d8" providerId="AD" clId="Web-{BA0DD81F-22B3-373A-6FB2-D48150A861E6}" dt="2022-12-19T16:04:54.596" v="125"/>
          <ac:picMkLst>
            <pc:docMk/>
            <pc:sldMk cId="1360301573" sldId="2147474889"/>
            <ac:picMk id="15" creationId="{0FC3F3F0-4598-BB70-71BE-10F360B60DD5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20.328" v="19"/>
          <ac:picMkLst>
            <pc:docMk/>
            <pc:sldMk cId="1360301573" sldId="2147474889"/>
            <ac:picMk id="16" creationId="{106CBF93-FF16-4BF3-ABDB-53400E3825C1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4:29:23.828" v="20"/>
          <ac:picMkLst>
            <pc:docMk/>
            <pc:sldMk cId="1360301573" sldId="2147474889"/>
            <ac:picMk id="18" creationId="{E2E84789-D3AB-4B8D-88B2-66307EB7F3AA}"/>
          </ac:picMkLst>
        </pc:picChg>
      </pc:sldChg>
      <pc:sldChg chg="addSp delSp modSp add replId">
        <pc:chgData name="Hughes, Maximilian (Allianz SE)" userId="S::maximilian.hughes@allianz.com::8b6e1f16-7bab-4630-9a61-b47c1b7fe2d8" providerId="AD" clId="Web-{BA0DD81F-22B3-373A-6FB2-D48150A861E6}" dt="2022-12-19T16:18:13.381" v="250" actId="1076"/>
        <pc:sldMkLst>
          <pc:docMk/>
          <pc:sldMk cId="577090387" sldId="2147474892"/>
        </pc:sldMkLst>
        <pc:spChg chg="add del mod">
          <ac:chgData name="Hughes, Maximilian (Allianz SE)" userId="S::maximilian.hughes@allianz.com::8b6e1f16-7bab-4630-9a61-b47c1b7fe2d8" providerId="AD" clId="Web-{BA0DD81F-22B3-373A-6FB2-D48150A861E6}" dt="2022-12-19T16:06:08.129" v="139"/>
          <ac:spMkLst>
            <pc:docMk/>
            <pc:sldMk cId="577090387" sldId="2147474892"/>
            <ac:spMk id="5" creationId="{E98AD3DC-B1F6-250C-F14E-476744334B6F}"/>
          </ac:spMkLst>
        </pc:spChg>
        <pc:spChg chg="mod">
          <ac:chgData name="Hughes, Maximilian (Allianz SE)" userId="S::maximilian.hughes@allianz.com::8b6e1f16-7bab-4630-9a61-b47c1b7fe2d8" providerId="AD" clId="Web-{BA0DD81F-22B3-373A-6FB2-D48150A861E6}" dt="2022-12-19T16:18:13.381" v="250" actId="1076"/>
          <ac:spMkLst>
            <pc:docMk/>
            <pc:sldMk cId="577090387" sldId="2147474892"/>
            <ac:spMk id="12" creationId="{81529A3D-577A-7CF2-558C-625181CAC25D}"/>
          </ac:spMkLst>
        </pc:spChg>
        <pc:picChg chg="del">
          <ac:chgData name="Hughes, Maximilian (Allianz SE)" userId="S::maximilian.hughes@allianz.com::8b6e1f16-7bab-4630-9a61-b47c1b7fe2d8" providerId="AD" clId="Web-{BA0DD81F-22B3-373A-6FB2-D48150A861E6}" dt="2022-12-19T16:05:10.034" v="129"/>
          <ac:picMkLst>
            <pc:docMk/>
            <pc:sldMk cId="577090387" sldId="2147474892"/>
            <ac:picMk id="8" creationId="{693EFB0C-2B2A-8ED1-8E55-59EBB491BADE}"/>
          </ac:picMkLst>
        </pc:picChg>
        <pc:picChg chg="mod">
          <ac:chgData name="Hughes, Maximilian (Allianz SE)" userId="S::maximilian.hughes@allianz.com::8b6e1f16-7bab-4630-9a61-b47c1b7fe2d8" providerId="AD" clId="Web-{BA0DD81F-22B3-373A-6FB2-D48150A861E6}" dt="2022-12-19T16:18:09.303" v="249" actId="1076"/>
          <ac:picMkLst>
            <pc:docMk/>
            <pc:sldMk cId="577090387" sldId="2147474892"/>
            <ac:picMk id="9" creationId="{33181B6F-5FD5-F49A-9D65-3CE86EEC25C5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05:26.722" v="132"/>
          <ac:picMkLst>
            <pc:docMk/>
            <pc:sldMk cId="577090387" sldId="2147474892"/>
            <ac:picMk id="10" creationId="{013AB439-1F33-200B-00F9-3BD1A45B67A8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05:33.081" v="134"/>
          <ac:picMkLst>
            <pc:docMk/>
            <pc:sldMk cId="577090387" sldId="2147474892"/>
            <ac:picMk id="11" creationId="{CEB192AD-1CA8-0089-3276-0C0A81AC8418}"/>
          </ac:picMkLst>
        </pc:picChg>
      </pc:sldChg>
      <pc:sldChg chg="addSp delSp modSp add replId">
        <pc:chgData name="Hughes, Maximilian (Allianz SE)" userId="S::maximilian.hughes@allianz.com::8b6e1f16-7bab-4630-9a61-b47c1b7fe2d8" providerId="AD" clId="Web-{BA0DD81F-22B3-373A-6FB2-D48150A861E6}" dt="2022-12-19T16:18:49.585" v="254"/>
        <pc:sldMkLst>
          <pc:docMk/>
          <pc:sldMk cId="4100212379" sldId="2147474893"/>
        </pc:sldMkLst>
        <pc:spChg chg="add del mod ord">
          <ac:chgData name="Hughes, Maximilian (Allianz SE)" userId="S::maximilian.hughes@allianz.com::8b6e1f16-7bab-4630-9a61-b47c1b7fe2d8" providerId="AD" clId="Web-{BA0DD81F-22B3-373A-6FB2-D48150A861E6}" dt="2022-12-19T16:18:49.585" v="254"/>
          <ac:spMkLst>
            <pc:docMk/>
            <pc:sldMk cId="4100212379" sldId="2147474893"/>
            <ac:spMk id="5" creationId="{6BBCF174-A6C3-5A26-4D87-E8A12B920184}"/>
          </ac:spMkLst>
        </pc:spChg>
        <pc:spChg chg="mod">
          <ac:chgData name="Hughes, Maximilian (Allianz SE)" userId="S::maximilian.hughes@allianz.com::8b6e1f16-7bab-4630-9a61-b47c1b7fe2d8" providerId="AD" clId="Web-{BA0DD81F-22B3-373A-6FB2-D48150A861E6}" dt="2022-12-19T16:18:00.443" v="248" actId="14100"/>
          <ac:spMkLst>
            <pc:docMk/>
            <pc:sldMk cId="4100212379" sldId="2147474893"/>
            <ac:spMk id="12" creationId="{81529A3D-577A-7CF2-558C-625181CAC25D}"/>
          </ac:spMkLst>
        </pc:spChg>
        <pc:picChg chg="del">
          <ac:chgData name="Hughes, Maximilian (Allianz SE)" userId="S::maximilian.hughes@allianz.com::8b6e1f16-7bab-4630-9a61-b47c1b7fe2d8" providerId="AD" clId="Web-{BA0DD81F-22B3-373A-6FB2-D48150A861E6}" dt="2022-12-19T16:13:18.905" v="181"/>
          <ac:picMkLst>
            <pc:docMk/>
            <pc:sldMk cId="4100212379" sldId="2147474893"/>
            <ac:picMk id="8" creationId="{693EFB0C-2B2A-8ED1-8E55-59EBB491BADE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13:47.515" v="185"/>
          <ac:picMkLst>
            <pc:docMk/>
            <pc:sldMk cId="4100212379" sldId="2147474893"/>
            <ac:picMk id="9" creationId="{33181B6F-5FD5-F49A-9D65-3CE86EEC25C5}"/>
          </ac:picMkLst>
        </pc:picChg>
        <pc:picChg chg="mod">
          <ac:chgData name="Hughes, Maximilian (Allianz SE)" userId="S::maximilian.hughes@allianz.com::8b6e1f16-7bab-4630-9a61-b47c1b7fe2d8" providerId="AD" clId="Web-{BA0DD81F-22B3-373A-6FB2-D48150A861E6}" dt="2022-12-19T16:17:33.224" v="241" actId="1076"/>
          <ac:picMkLst>
            <pc:docMk/>
            <pc:sldMk cId="4100212379" sldId="2147474893"/>
            <ac:picMk id="10" creationId="{013AB439-1F33-200B-00F9-3BD1A45B67A8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13:42.968" v="184"/>
          <ac:picMkLst>
            <pc:docMk/>
            <pc:sldMk cId="4100212379" sldId="2147474893"/>
            <ac:picMk id="11" creationId="{CEB192AD-1CA8-0089-3276-0C0A81AC8418}"/>
          </ac:picMkLst>
        </pc:picChg>
      </pc:sldChg>
      <pc:sldChg chg="addSp delSp modSp add replId">
        <pc:chgData name="Hughes, Maximilian (Allianz SE)" userId="S::maximilian.hughes@allianz.com::8b6e1f16-7bab-4630-9a61-b47c1b7fe2d8" providerId="AD" clId="Web-{BA0DD81F-22B3-373A-6FB2-D48150A861E6}" dt="2022-12-19T16:18:43.023" v="253"/>
        <pc:sldMkLst>
          <pc:docMk/>
          <pc:sldMk cId="1144800238" sldId="2147474894"/>
        </pc:sldMkLst>
        <pc:spChg chg="add del mod ord">
          <ac:chgData name="Hughes, Maximilian (Allianz SE)" userId="S::maximilian.hughes@allianz.com::8b6e1f16-7bab-4630-9a61-b47c1b7fe2d8" providerId="AD" clId="Web-{BA0DD81F-22B3-373A-6FB2-D48150A861E6}" dt="2022-12-19T16:18:43.023" v="253"/>
          <ac:spMkLst>
            <pc:docMk/>
            <pc:sldMk cId="1144800238" sldId="2147474894"/>
            <ac:spMk id="5" creationId="{1166934D-02A5-BCCC-8AD4-4792362B06D6}"/>
          </ac:spMkLst>
        </pc:spChg>
        <pc:spChg chg="mod">
          <ac:chgData name="Hughes, Maximilian (Allianz SE)" userId="S::maximilian.hughes@allianz.com::8b6e1f16-7bab-4630-9a61-b47c1b7fe2d8" providerId="AD" clId="Web-{BA0DD81F-22B3-373A-6FB2-D48150A861E6}" dt="2022-12-19T16:18:37.679" v="252" actId="1076"/>
          <ac:spMkLst>
            <pc:docMk/>
            <pc:sldMk cId="1144800238" sldId="2147474894"/>
            <ac:spMk id="12" creationId="{81529A3D-577A-7CF2-558C-625181CAC25D}"/>
          </ac:spMkLst>
        </pc:spChg>
        <pc:picChg chg="del">
          <ac:chgData name="Hughes, Maximilian (Allianz SE)" userId="S::maximilian.hughes@allianz.com::8b6e1f16-7bab-4630-9a61-b47c1b7fe2d8" providerId="AD" clId="Web-{BA0DD81F-22B3-373A-6FB2-D48150A861E6}" dt="2022-12-19T16:15:10.549" v="217"/>
          <ac:picMkLst>
            <pc:docMk/>
            <pc:sldMk cId="1144800238" sldId="2147474894"/>
            <ac:picMk id="8" creationId="{693EFB0C-2B2A-8ED1-8E55-59EBB491BADE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15:52.003" v="238"/>
          <ac:picMkLst>
            <pc:docMk/>
            <pc:sldMk cId="1144800238" sldId="2147474894"/>
            <ac:picMk id="9" creationId="{33181B6F-5FD5-F49A-9D65-3CE86EEC25C5}"/>
          </ac:picMkLst>
        </pc:picChg>
        <pc:picChg chg="del">
          <ac:chgData name="Hughes, Maximilian (Allianz SE)" userId="S::maximilian.hughes@allianz.com::8b6e1f16-7bab-4630-9a61-b47c1b7fe2d8" providerId="AD" clId="Web-{BA0DD81F-22B3-373A-6FB2-D48150A861E6}" dt="2022-12-19T16:15:51.190" v="237"/>
          <ac:picMkLst>
            <pc:docMk/>
            <pc:sldMk cId="1144800238" sldId="2147474894"/>
            <ac:picMk id="10" creationId="{013AB439-1F33-200B-00F9-3BD1A45B67A8}"/>
          </ac:picMkLst>
        </pc:picChg>
        <pc:picChg chg="mod">
          <ac:chgData name="Hughes, Maximilian (Allianz SE)" userId="S::maximilian.hughes@allianz.com::8b6e1f16-7bab-4630-9a61-b47c1b7fe2d8" providerId="AD" clId="Web-{BA0DD81F-22B3-373A-6FB2-D48150A861E6}" dt="2022-12-19T16:15:58.690" v="240" actId="14100"/>
          <ac:picMkLst>
            <pc:docMk/>
            <pc:sldMk cId="1144800238" sldId="2147474894"/>
            <ac:picMk id="11" creationId="{CEB192AD-1CA8-0089-3276-0C0A81AC8418}"/>
          </ac:picMkLst>
        </pc:picChg>
      </pc:sldChg>
    </pc:docChg>
  </pc:docChgLst>
  <pc:docChgLst>
    <pc:chgData name="Lechner, Pirmin (Allianz SE)" userId="S::pirmin.lechner@allianz.com::4ff95c5a-ccbc-4dc8-af2b-255f1ed8d179" providerId="AD" clId="Web-{E39D4D86-432C-110C-1684-71920C2C28B2}"/>
    <pc:docChg chg="modSld">
      <pc:chgData name="Lechner, Pirmin (Allianz SE)" userId="S::pirmin.lechner@allianz.com::4ff95c5a-ccbc-4dc8-af2b-255f1ed8d179" providerId="AD" clId="Web-{E39D4D86-432C-110C-1684-71920C2C28B2}" dt="2023-02-02T15:21:50.488" v="6" actId="20577"/>
      <pc:docMkLst>
        <pc:docMk/>
      </pc:docMkLst>
      <pc:sldChg chg="addSp modSp">
        <pc:chgData name="Lechner, Pirmin (Allianz SE)" userId="S::pirmin.lechner@allianz.com::4ff95c5a-ccbc-4dc8-af2b-255f1ed8d179" providerId="AD" clId="Web-{E39D4D86-432C-110C-1684-71920C2C28B2}" dt="2023-02-02T15:21:50.488" v="6" actId="20577"/>
        <pc:sldMkLst>
          <pc:docMk/>
          <pc:sldMk cId="3589082403" sldId="2147474880"/>
        </pc:sldMkLst>
        <pc:spChg chg="add mod">
          <ac:chgData name="Lechner, Pirmin (Allianz SE)" userId="S::pirmin.lechner@allianz.com::4ff95c5a-ccbc-4dc8-af2b-255f1ed8d179" providerId="AD" clId="Web-{E39D4D86-432C-110C-1684-71920C2C28B2}" dt="2023-02-02T15:21:50.488" v="6" actId="20577"/>
          <ac:spMkLst>
            <pc:docMk/>
            <pc:sldMk cId="3589082403" sldId="2147474880"/>
            <ac:spMk id="5" creationId="{E42376D5-E45D-96BC-A91C-0451E5ED2060}"/>
          </ac:spMkLst>
        </pc:spChg>
      </pc:sldChg>
    </pc:docChg>
  </pc:docChgLst>
  <pc:docChgLst>
    <pc:chgData name="Karanth, Suhas (Allianz SE)" userId="80e062e1-fdb8-46de-bee5-a3166786e341" providerId="ADAL" clId="{EE1BD3E7-14F2-462A-9FD6-FFBBF7D8EE7D}"/>
    <pc:docChg chg="delSld modSld sldOrd">
      <pc:chgData name="Karanth, Suhas (Allianz SE)" userId="80e062e1-fdb8-46de-bee5-a3166786e341" providerId="ADAL" clId="{EE1BD3E7-14F2-462A-9FD6-FFBBF7D8EE7D}" dt="2023-02-15T12:41:17.859" v="3" actId="14100"/>
      <pc:docMkLst>
        <pc:docMk/>
      </pc:docMkLst>
      <pc:sldChg chg="ord">
        <pc:chgData name="Karanth, Suhas (Allianz SE)" userId="80e062e1-fdb8-46de-bee5-a3166786e341" providerId="ADAL" clId="{EE1BD3E7-14F2-462A-9FD6-FFBBF7D8EE7D}" dt="2023-02-14T12:34:23.155" v="1"/>
        <pc:sldMkLst>
          <pc:docMk/>
          <pc:sldMk cId="1663520743" sldId="2147474868"/>
        </pc:sldMkLst>
      </pc:sldChg>
      <pc:sldChg chg="modSp mod">
        <pc:chgData name="Karanth, Suhas (Allianz SE)" userId="80e062e1-fdb8-46de-bee5-a3166786e341" providerId="ADAL" clId="{EE1BD3E7-14F2-462A-9FD6-FFBBF7D8EE7D}" dt="2023-02-15T12:41:17.859" v="3" actId="14100"/>
        <pc:sldMkLst>
          <pc:docMk/>
          <pc:sldMk cId="4100212379" sldId="2147474893"/>
        </pc:sldMkLst>
        <pc:picChg chg="mod">
          <ac:chgData name="Karanth, Suhas (Allianz SE)" userId="80e062e1-fdb8-46de-bee5-a3166786e341" providerId="ADAL" clId="{EE1BD3E7-14F2-462A-9FD6-FFBBF7D8EE7D}" dt="2023-02-15T12:41:17.859" v="3" actId="14100"/>
          <ac:picMkLst>
            <pc:docMk/>
            <pc:sldMk cId="4100212379" sldId="2147474893"/>
            <ac:picMk id="10" creationId="{013AB439-1F33-200B-00F9-3BD1A45B67A8}"/>
          </ac:picMkLst>
        </pc:picChg>
      </pc:sldChg>
      <pc:sldChg chg="del">
        <pc:chgData name="Karanth, Suhas (Allianz SE)" userId="80e062e1-fdb8-46de-bee5-a3166786e341" providerId="ADAL" clId="{EE1BD3E7-14F2-462A-9FD6-FFBBF7D8EE7D}" dt="2023-02-14T12:34:35.558" v="2" actId="47"/>
        <pc:sldMkLst>
          <pc:docMk/>
          <pc:sldMk cId="1405429314" sldId="2147474896"/>
        </pc:sldMkLst>
      </pc:sldChg>
    </pc:docChg>
  </pc:docChgLst>
  <pc:docChgLst>
    <pc:chgData name="Lechner, Pirmin (Allianz SE)" userId="S::pirmin.lechner@allianz.com::4ff95c5a-ccbc-4dc8-af2b-255f1ed8d179" providerId="AD" clId="Web-{465D7FA4-35A6-F572-4A93-F00782C1241B}"/>
    <pc:docChg chg="addSld modSld sldOrd">
      <pc:chgData name="Lechner, Pirmin (Allianz SE)" userId="S::pirmin.lechner@allianz.com::4ff95c5a-ccbc-4dc8-af2b-255f1ed8d179" providerId="AD" clId="Web-{465D7FA4-35A6-F572-4A93-F00782C1241B}" dt="2022-12-14T13:22:51.426" v="125"/>
      <pc:docMkLst>
        <pc:docMk/>
      </pc:docMkLst>
      <pc:sldChg chg="modSp">
        <pc:chgData name="Lechner, Pirmin (Allianz SE)" userId="S::pirmin.lechner@allianz.com::4ff95c5a-ccbc-4dc8-af2b-255f1ed8d179" providerId="AD" clId="Web-{465D7FA4-35A6-F572-4A93-F00782C1241B}" dt="2022-12-14T12:01:14.535" v="7" actId="20577"/>
        <pc:sldMkLst>
          <pc:docMk/>
          <pc:sldMk cId="4150961444" sldId="257"/>
        </pc:sldMkLst>
        <pc:spChg chg="mod">
          <ac:chgData name="Lechner, Pirmin (Allianz SE)" userId="S::pirmin.lechner@allianz.com::4ff95c5a-ccbc-4dc8-af2b-255f1ed8d179" providerId="AD" clId="Web-{465D7FA4-35A6-F572-4A93-F00782C1241B}" dt="2022-12-14T12:01:14.535" v="7" actId="20577"/>
          <ac:spMkLst>
            <pc:docMk/>
            <pc:sldMk cId="4150961444" sldId="257"/>
            <ac:spMk id="9" creationId="{EE9B0C72-0DB7-40B9-9454-264D9D37B510}"/>
          </ac:spMkLst>
        </pc:spChg>
      </pc:sldChg>
      <pc:sldChg chg="modSp">
        <pc:chgData name="Lechner, Pirmin (Allianz SE)" userId="S::pirmin.lechner@allianz.com::4ff95c5a-ccbc-4dc8-af2b-255f1ed8d179" providerId="AD" clId="Web-{465D7FA4-35A6-F572-4A93-F00782C1241B}" dt="2022-12-14T12:11:48.988" v="27" actId="20577"/>
        <pc:sldMkLst>
          <pc:docMk/>
          <pc:sldMk cId="350399327" sldId="2147474859"/>
        </pc:sldMkLst>
        <pc:spChg chg="mod">
          <ac:chgData name="Lechner, Pirmin (Allianz SE)" userId="S::pirmin.lechner@allianz.com::4ff95c5a-ccbc-4dc8-af2b-255f1ed8d179" providerId="AD" clId="Web-{465D7FA4-35A6-F572-4A93-F00782C1241B}" dt="2022-12-14T12:11:48.988" v="27" actId="20577"/>
          <ac:spMkLst>
            <pc:docMk/>
            <pc:sldMk cId="350399327" sldId="2147474859"/>
            <ac:spMk id="4" creationId="{1826F763-6700-4515-AB67-EBB18B9F62E3}"/>
          </ac:spMkLst>
        </pc:spChg>
      </pc:sldChg>
      <pc:sldChg chg="delSp modSp">
        <pc:chgData name="Lechner, Pirmin (Allianz SE)" userId="S::pirmin.lechner@allianz.com::4ff95c5a-ccbc-4dc8-af2b-255f1ed8d179" providerId="AD" clId="Web-{465D7FA4-35A6-F572-4A93-F00782C1241B}" dt="2022-12-14T12:12:46.787" v="31" actId="1076"/>
        <pc:sldMkLst>
          <pc:docMk/>
          <pc:sldMk cId="40809487" sldId="2147474862"/>
        </pc:sldMkLst>
        <pc:picChg chg="mod">
          <ac:chgData name="Lechner, Pirmin (Allianz SE)" userId="S::pirmin.lechner@allianz.com::4ff95c5a-ccbc-4dc8-af2b-255f1ed8d179" providerId="AD" clId="Web-{465D7FA4-35A6-F572-4A93-F00782C1241B}" dt="2022-12-14T12:12:46.787" v="31" actId="1076"/>
          <ac:picMkLst>
            <pc:docMk/>
            <pc:sldMk cId="40809487" sldId="2147474862"/>
            <ac:picMk id="6" creationId="{F3DBC7F4-2B98-4F04-8420-F91C69EB1DCE}"/>
          </ac:picMkLst>
        </pc:picChg>
        <pc:picChg chg="del">
          <ac:chgData name="Lechner, Pirmin (Allianz SE)" userId="S::pirmin.lechner@allianz.com::4ff95c5a-ccbc-4dc8-af2b-255f1ed8d179" providerId="AD" clId="Web-{465D7FA4-35A6-F572-4A93-F00782C1241B}" dt="2022-12-14T12:12:43.943" v="30"/>
          <ac:picMkLst>
            <pc:docMk/>
            <pc:sldMk cId="40809487" sldId="2147474862"/>
            <ac:picMk id="8" creationId="{B5152323-D4AF-4952-BD27-7E167DF02099}"/>
          </ac:picMkLst>
        </pc:picChg>
        <pc:picChg chg="del">
          <ac:chgData name="Lechner, Pirmin (Allianz SE)" userId="S::pirmin.lechner@allianz.com::4ff95c5a-ccbc-4dc8-af2b-255f1ed8d179" providerId="AD" clId="Web-{465D7FA4-35A6-F572-4A93-F00782C1241B}" dt="2022-12-14T12:12:42.130" v="29"/>
          <ac:picMkLst>
            <pc:docMk/>
            <pc:sldMk cId="40809487" sldId="2147474862"/>
            <ac:picMk id="10" creationId="{33215DAC-0B91-4AE9-8B8C-F53C913D4FA7}"/>
          </ac:picMkLst>
        </pc:picChg>
      </pc:sldChg>
      <pc:sldChg chg="delSp modSp">
        <pc:chgData name="Lechner, Pirmin (Allianz SE)" userId="S::pirmin.lechner@allianz.com::4ff95c5a-ccbc-4dc8-af2b-255f1ed8d179" providerId="AD" clId="Web-{465D7FA4-35A6-F572-4A93-F00782C1241B}" dt="2022-12-14T12:34:30.132" v="124" actId="20577"/>
        <pc:sldMkLst>
          <pc:docMk/>
          <pc:sldMk cId="2704156487" sldId="2147474863"/>
        </pc:sldMkLst>
        <pc:spChg chg="mod">
          <ac:chgData name="Lechner, Pirmin (Allianz SE)" userId="S::pirmin.lechner@allianz.com::4ff95c5a-ccbc-4dc8-af2b-255f1ed8d179" providerId="AD" clId="Web-{465D7FA4-35A6-F572-4A93-F00782C1241B}" dt="2022-12-14T12:34:30.132" v="124" actId="20577"/>
          <ac:spMkLst>
            <pc:docMk/>
            <pc:sldMk cId="2704156487" sldId="2147474863"/>
            <ac:spMk id="4" creationId="{F1198C50-2AD8-D98E-61BE-C03E08C11001}"/>
          </ac:spMkLst>
        </pc:spChg>
        <pc:spChg chg="del">
          <ac:chgData name="Lechner, Pirmin (Allianz SE)" userId="S::pirmin.lechner@allianz.com::4ff95c5a-ccbc-4dc8-af2b-255f1ed8d179" providerId="AD" clId="Web-{465D7FA4-35A6-F572-4A93-F00782C1241B}" dt="2022-12-14T12:34:19.476" v="122"/>
          <ac:spMkLst>
            <pc:docMk/>
            <pc:sldMk cId="2704156487" sldId="2147474863"/>
            <ac:spMk id="5" creationId="{EEC06ED8-5030-4A33-BDBD-1D466FFE5188}"/>
          </ac:spMkLst>
        </pc:spChg>
      </pc:sldChg>
      <pc:sldChg chg="ord">
        <pc:chgData name="Lechner, Pirmin (Allianz SE)" userId="S::pirmin.lechner@allianz.com::4ff95c5a-ccbc-4dc8-af2b-255f1ed8d179" providerId="AD" clId="Web-{465D7FA4-35A6-F572-4A93-F00782C1241B}" dt="2022-12-14T11:42:55.288" v="0"/>
        <pc:sldMkLst>
          <pc:docMk/>
          <pc:sldMk cId="1663520743" sldId="2147474868"/>
        </pc:sldMkLst>
      </pc:sldChg>
      <pc:sldChg chg="modSp">
        <pc:chgData name="Lechner, Pirmin (Allianz SE)" userId="S::pirmin.lechner@allianz.com::4ff95c5a-ccbc-4dc8-af2b-255f1ed8d179" providerId="AD" clId="Web-{465D7FA4-35A6-F572-4A93-F00782C1241B}" dt="2022-12-14T12:21:45.488" v="57" actId="20577"/>
        <pc:sldMkLst>
          <pc:docMk/>
          <pc:sldMk cId="2395899290" sldId="2147474869"/>
        </pc:sldMkLst>
        <pc:spChg chg="mod">
          <ac:chgData name="Lechner, Pirmin (Allianz SE)" userId="S::pirmin.lechner@allianz.com::4ff95c5a-ccbc-4dc8-af2b-255f1ed8d179" providerId="AD" clId="Web-{465D7FA4-35A6-F572-4A93-F00782C1241B}" dt="2022-12-14T12:21:32.003" v="41" actId="20577"/>
          <ac:spMkLst>
            <pc:docMk/>
            <pc:sldMk cId="2395899290" sldId="2147474869"/>
            <ac:spMk id="9" creationId="{65F421E1-65C9-4333-97E9-FA881561B2A3}"/>
          </ac:spMkLst>
        </pc:spChg>
        <pc:spChg chg="mod">
          <ac:chgData name="Lechner, Pirmin (Allianz SE)" userId="S::pirmin.lechner@allianz.com::4ff95c5a-ccbc-4dc8-af2b-255f1ed8d179" providerId="AD" clId="Web-{465D7FA4-35A6-F572-4A93-F00782C1241B}" dt="2022-12-14T12:21:45.488" v="57" actId="20577"/>
          <ac:spMkLst>
            <pc:docMk/>
            <pc:sldMk cId="2395899290" sldId="2147474869"/>
            <ac:spMk id="13" creationId="{748029E1-DA72-491D-9500-94643901210A}"/>
          </ac:spMkLst>
        </pc:spChg>
      </pc:sldChg>
      <pc:sldChg chg="ord">
        <pc:chgData name="Lechner, Pirmin (Allianz SE)" userId="S::pirmin.lechner@allianz.com::4ff95c5a-ccbc-4dc8-af2b-255f1ed8d179" providerId="AD" clId="Web-{465D7FA4-35A6-F572-4A93-F00782C1241B}" dt="2022-12-14T11:42:58.835" v="1"/>
        <pc:sldMkLst>
          <pc:docMk/>
          <pc:sldMk cId="1531466322" sldId="2147474878"/>
        </pc:sldMkLst>
      </pc:sldChg>
      <pc:sldChg chg="ord">
        <pc:chgData name="Lechner, Pirmin (Allianz SE)" userId="S::pirmin.lechner@allianz.com::4ff95c5a-ccbc-4dc8-af2b-255f1ed8d179" providerId="AD" clId="Web-{465D7FA4-35A6-F572-4A93-F00782C1241B}" dt="2022-12-14T11:43:02.445" v="2"/>
        <pc:sldMkLst>
          <pc:docMk/>
          <pc:sldMk cId="3694427098" sldId="2147474879"/>
        </pc:sldMkLst>
      </pc:sldChg>
      <pc:sldChg chg="modSp add ord replId">
        <pc:chgData name="Lechner, Pirmin (Allianz SE)" userId="S::pirmin.lechner@allianz.com::4ff95c5a-ccbc-4dc8-af2b-255f1ed8d179" providerId="AD" clId="Web-{465D7FA4-35A6-F572-4A93-F00782C1241B}" dt="2022-12-14T12:31:14.581" v="119" actId="20577"/>
        <pc:sldMkLst>
          <pc:docMk/>
          <pc:sldMk cId="3589082403" sldId="2147474880"/>
        </pc:sldMkLst>
        <pc:spChg chg="mod">
          <ac:chgData name="Lechner, Pirmin (Allianz SE)" userId="S::pirmin.lechner@allianz.com::4ff95c5a-ccbc-4dc8-af2b-255f1ed8d179" providerId="AD" clId="Web-{465D7FA4-35A6-F572-4A93-F00782C1241B}" dt="2022-12-14T12:31:14.581" v="119" actId="20577"/>
          <ac:spMkLst>
            <pc:docMk/>
            <pc:sldMk cId="3589082403" sldId="2147474880"/>
            <ac:spMk id="3" creationId="{21257603-DCD1-7CD1-FDA0-5EFC1D66729E}"/>
          </ac:spMkLst>
        </pc:spChg>
      </pc:sldChg>
      <pc:sldChg chg="add ord replId">
        <pc:chgData name="Lechner, Pirmin (Allianz SE)" userId="S::pirmin.lechner@allianz.com::4ff95c5a-ccbc-4dc8-af2b-255f1ed8d179" providerId="AD" clId="Web-{465D7FA4-35A6-F572-4A93-F00782C1241B}" dt="2022-12-14T12:31:33.222" v="121"/>
        <pc:sldMkLst>
          <pc:docMk/>
          <pc:sldMk cId="1727248298" sldId="2147474881"/>
        </pc:sldMkLst>
      </pc:sldChg>
      <pc:sldChg chg="new">
        <pc:chgData name="Lechner, Pirmin (Allianz SE)" userId="S::pirmin.lechner@allianz.com::4ff95c5a-ccbc-4dc8-af2b-255f1ed8d179" providerId="AD" clId="Web-{465D7FA4-35A6-F572-4A93-F00782C1241B}" dt="2022-12-14T13:22:51.426" v="125"/>
        <pc:sldMkLst>
          <pc:docMk/>
          <pc:sldMk cId="1224225509" sldId="2147474882"/>
        </pc:sldMkLst>
      </pc:sldChg>
    </pc:docChg>
  </pc:docChgLst>
  <pc:docChgLst>
    <pc:chgData name="Hughes, Maximilian (Allianz SE)" userId="S::maximilian.hughes@allianz.com::8b6e1f16-7bab-4630-9a61-b47c1b7fe2d8" providerId="AD" clId="Web-{0C42AAB1-AE02-D939-2BE9-7621CC7A9486}"/>
    <pc:docChg chg="modSld">
      <pc:chgData name="Hughes, Maximilian (Allianz SE)" userId="S::maximilian.hughes@allianz.com::8b6e1f16-7bab-4630-9a61-b47c1b7fe2d8" providerId="AD" clId="Web-{0C42AAB1-AE02-D939-2BE9-7621CC7A9486}" dt="2023-01-12T10:00:23.803" v="392" actId="20577"/>
      <pc:docMkLst>
        <pc:docMk/>
      </pc:docMkLst>
      <pc:sldChg chg="modSp">
        <pc:chgData name="Hughes, Maximilian (Allianz SE)" userId="S::maximilian.hughes@allianz.com::8b6e1f16-7bab-4630-9a61-b47c1b7fe2d8" providerId="AD" clId="Web-{0C42AAB1-AE02-D939-2BE9-7621CC7A9486}" dt="2023-01-12T10:00:23.803" v="392" actId="20577"/>
        <pc:sldMkLst>
          <pc:docMk/>
          <pc:sldMk cId="2704156487" sldId="2147474863"/>
        </pc:sldMkLst>
        <pc:spChg chg="mod">
          <ac:chgData name="Hughes, Maximilian (Allianz SE)" userId="S::maximilian.hughes@allianz.com::8b6e1f16-7bab-4630-9a61-b47c1b7fe2d8" providerId="AD" clId="Web-{0C42AAB1-AE02-D939-2BE9-7621CC7A9486}" dt="2023-01-12T10:00:23.803" v="392" actId="20577"/>
          <ac:spMkLst>
            <pc:docMk/>
            <pc:sldMk cId="2704156487" sldId="2147474863"/>
            <ac:spMk id="4" creationId="{F1198C50-2AD8-D98E-61BE-C03E08C11001}"/>
          </ac:spMkLst>
        </pc:spChg>
      </pc:sldChg>
      <pc:sldChg chg="modSp">
        <pc:chgData name="Hughes, Maximilian (Allianz SE)" userId="S::maximilian.hughes@allianz.com::8b6e1f16-7bab-4630-9a61-b47c1b7fe2d8" providerId="AD" clId="Web-{0C42AAB1-AE02-D939-2BE9-7621CC7A9486}" dt="2023-01-12T09:52:19.121" v="3" actId="20577"/>
        <pc:sldMkLst>
          <pc:docMk/>
          <pc:sldMk cId="2381064402" sldId="2147474895"/>
        </pc:sldMkLst>
        <pc:spChg chg="mod">
          <ac:chgData name="Hughes, Maximilian (Allianz SE)" userId="S::maximilian.hughes@allianz.com::8b6e1f16-7bab-4630-9a61-b47c1b7fe2d8" providerId="AD" clId="Web-{0C42AAB1-AE02-D939-2BE9-7621CC7A9486}" dt="2023-01-12T09:38:35.605" v="0" actId="20577"/>
          <ac:spMkLst>
            <pc:docMk/>
            <pc:sldMk cId="2381064402" sldId="2147474895"/>
            <ac:spMk id="3" creationId="{A99797F0-F05E-467E-8159-8628BBB4872C}"/>
          </ac:spMkLst>
        </pc:spChg>
        <pc:spChg chg="mod">
          <ac:chgData name="Hughes, Maximilian (Allianz SE)" userId="S::maximilian.hughes@allianz.com::8b6e1f16-7bab-4630-9a61-b47c1b7fe2d8" providerId="AD" clId="Web-{0C42AAB1-AE02-D939-2BE9-7621CC7A9486}" dt="2023-01-12T09:52:19.121" v="3" actId="20577"/>
          <ac:spMkLst>
            <pc:docMk/>
            <pc:sldMk cId="2381064402" sldId="2147474895"/>
            <ac:spMk id="4" creationId="{256054CD-9EA5-4FD1-87EA-A0E97ACC1BDD}"/>
          </ac:spMkLst>
        </pc:spChg>
      </pc:sldChg>
    </pc:docChg>
  </pc:docChgLst>
  <pc:docChgLst>
    <pc:chgData name="Lechner, Pirmin (Allianz SE)" userId="4ff95c5a-ccbc-4dc8-af2b-255f1ed8d179" providerId="ADAL" clId="{11E97145-5754-41D1-8D57-41038BC05B65}"/>
    <pc:docChg chg="undo custSel addSld delSld modSld sldOrd">
      <pc:chgData name="Lechner, Pirmin (Allianz SE)" userId="4ff95c5a-ccbc-4dc8-af2b-255f1ed8d179" providerId="ADAL" clId="{11E97145-5754-41D1-8D57-41038BC05B65}" dt="2022-12-14T13:42:00.174" v="1873" actId="1036"/>
      <pc:docMkLst>
        <pc:docMk/>
      </pc:docMkLst>
      <pc:sldChg chg="modSp mod">
        <pc:chgData name="Lechner, Pirmin (Allianz SE)" userId="4ff95c5a-ccbc-4dc8-af2b-255f1ed8d179" providerId="ADAL" clId="{11E97145-5754-41D1-8D57-41038BC05B65}" dt="2022-12-14T10:38:11.808" v="1312" actId="20577"/>
        <pc:sldMkLst>
          <pc:docMk/>
          <pc:sldMk cId="4150961444" sldId="257"/>
        </pc:sldMkLst>
        <pc:spChg chg="mod">
          <ac:chgData name="Lechner, Pirmin (Allianz SE)" userId="4ff95c5a-ccbc-4dc8-af2b-255f1ed8d179" providerId="ADAL" clId="{11E97145-5754-41D1-8D57-41038BC05B65}" dt="2022-12-14T10:38:11.808" v="1312" actId="20577"/>
          <ac:spMkLst>
            <pc:docMk/>
            <pc:sldMk cId="4150961444" sldId="257"/>
            <ac:spMk id="5" creationId="{F4F302BB-326D-4195-A983-4A410F1E4A5B}"/>
          </ac:spMkLst>
        </pc:spChg>
        <pc:spChg chg="mod">
          <ac:chgData name="Lechner, Pirmin (Allianz SE)" userId="4ff95c5a-ccbc-4dc8-af2b-255f1ed8d179" providerId="ADAL" clId="{11E97145-5754-41D1-8D57-41038BC05B65}" dt="2022-12-14T09:48:37.258" v="1039" actId="20577"/>
          <ac:spMkLst>
            <pc:docMk/>
            <pc:sldMk cId="4150961444" sldId="257"/>
            <ac:spMk id="9" creationId="{EE9B0C72-0DB7-40B9-9454-264D9D37B510}"/>
          </ac:spMkLst>
        </pc:spChg>
      </pc:sldChg>
      <pc:sldChg chg="modSp mod">
        <pc:chgData name="Lechner, Pirmin (Allianz SE)" userId="4ff95c5a-ccbc-4dc8-af2b-255f1ed8d179" providerId="ADAL" clId="{11E97145-5754-41D1-8D57-41038BC05B65}" dt="2022-12-14T08:43:49.261" v="113" actId="208"/>
        <pc:sldMkLst>
          <pc:docMk/>
          <pc:sldMk cId="3961267969" sldId="260"/>
        </pc:sldMkLst>
        <pc:spChg chg="mod">
          <ac:chgData name="Lechner, Pirmin (Allianz SE)" userId="4ff95c5a-ccbc-4dc8-af2b-255f1ed8d179" providerId="ADAL" clId="{11E97145-5754-41D1-8D57-41038BC05B65}" dt="2022-12-14T08:43:49.261" v="113" actId="208"/>
          <ac:spMkLst>
            <pc:docMk/>
            <pc:sldMk cId="3961267969" sldId="260"/>
            <ac:spMk id="3" creationId="{E1AB640A-255F-481D-AEC9-511B2E2353C0}"/>
          </ac:spMkLst>
        </pc:spChg>
      </pc:sldChg>
      <pc:sldChg chg="modSp mod">
        <pc:chgData name="Lechner, Pirmin (Allianz SE)" userId="4ff95c5a-ccbc-4dc8-af2b-255f1ed8d179" providerId="ADAL" clId="{11E97145-5754-41D1-8D57-41038BC05B65}" dt="2022-12-14T08:45:24.619" v="124" actId="208"/>
        <pc:sldMkLst>
          <pc:docMk/>
          <pc:sldMk cId="3775803684" sldId="264"/>
        </pc:sldMkLst>
        <pc:spChg chg="mod">
          <ac:chgData name="Lechner, Pirmin (Allianz SE)" userId="4ff95c5a-ccbc-4dc8-af2b-255f1ed8d179" providerId="ADAL" clId="{11E97145-5754-41D1-8D57-41038BC05B65}" dt="2022-12-14T08:45:24.619" v="124" actId="208"/>
          <ac:spMkLst>
            <pc:docMk/>
            <pc:sldMk cId="3775803684" sldId="264"/>
            <ac:spMk id="242" creationId="{9695978A-7996-4E44-AD38-6960AA191895}"/>
          </ac:spMkLst>
        </pc:spChg>
      </pc:sldChg>
      <pc:sldChg chg="delSp modSp mod">
        <pc:chgData name="Lechner, Pirmin (Allianz SE)" userId="4ff95c5a-ccbc-4dc8-af2b-255f1ed8d179" providerId="ADAL" clId="{11E97145-5754-41D1-8D57-41038BC05B65}" dt="2022-12-14T08:46:04.286" v="132" actId="20577"/>
        <pc:sldMkLst>
          <pc:docMk/>
          <pc:sldMk cId="2594654958" sldId="265"/>
        </pc:sldMkLst>
        <pc:spChg chg="del">
          <ac:chgData name="Lechner, Pirmin (Allianz SE)" userId="4ff95c5a-ccbc-4dc8-af2b-255f1ed8d179" providerId="ADAL" clId="{11E97145-5754-41D1-8D57-41038BC05B65}" dt="2022-12-14T08:45:40.350" v="126" actId="478"/>
          <ac:spMkLst>
            <pc:docMk/>
            <pc:sldMk cId="2594654958" sldId="265"/>
            <ac:spMk id="47" creationId="{BC7F5010-CD71-4198-84C0-17C6C8C476F4}"/>
          </ac:spMkLst>
        </pc:spChg>
        <pc:spChg chg="mod">
          <ac:chgData name="Lechner, Pirmin (Allianz SE)" userId="4ff95c5a-ccbc-4dc8-af2b-255f1ed8d179" providerId="ADAL" clId="{11E97145-5754-41D1-8D57-41038BC05B65}" dt="2022-12-14T08:45:36.773" v="125" actId="208"/>
          <ac:spMkLst>
            <pc:docMk/>
            <pc:sldMk cId="2594654958" sldId="265"/>
            <ac:spMk id="150" creationId="{9A39B444-6BEC-4429-99C3-56A90CD1738D}"/>
          </ac:spMkLst>
        </pc:spChg>
        <pc:graphicFrameChg chg="modGraphic">
          <ac:chgData name="Lechner, Pirmin (Allianz SE)" userId="4ff95c5a-ccbc-4dc8-af2b-255f1ed8d179" providerId="ADAL" clId="{11E97145-5754-41D1-8D57-41038BC05B65}" dt="2022-12-14T08:46:04.286" v="132" actId="20577"/>
          <ac:graphicFrameMkLst>
            <pc:docMk/>
            <pc:sldMk cId="2594654958" sldId="265"/>
            <ac:graphicFrameMk id="258" creationId="{D3FDEBFA-818A-B4E7-FDBD-22BC4994CBFA}"/>
          </ac:graphicFrameMkLst>
        </pc:graphicFrameChg>
      </pc:sldChg>
      <pc:sldChg chg="modSp mod ord">
        <pc:chgData name="Lechner, Pirmin (Allianz SE)" userId="4ff95c5a-ccbc-4dc8-af2b-255f1ed8d179" providerId="ADAL" clId="{11E97145-5754-41D1-8D57-41038BC05B65}" dt="2022-12-14T09:38:15.532" v="903"/>
        <pc:sldMkLst>
          <pc:docMk/>
          <pc:sldMk cId="202545387" sldId="315"/>
        </pc:sldMkLst>
        <pc:spChg chg="mod">
          <ac:chgData name="Lechner, Pirmin (Allianz SE)" userId="4ff95c5a-ccbc-4dc8-af2b-255f1ed8d179" providerId="ADAL" clId="{11E97145-5754-41D1-8D57-41038BC05B65}" dt="2022-12-14T09:38:05.033" v="901" actId="20577"/>
          <ac:spMkLst>
            <pc:docMk/>
            <pc:sldMk cId="202545387" sldId="315"/>
            <ac:spMk id="6" creationId="{F4A817E4-52F2-465E-B6BF-E8C669B80413}"/>
          </ac:spMkLst>
        </pc:spChg>
        <pc:spChg chg="mod">
          <ac:chgData name="Lechner, Pirmin (Allianz SE)" userId="4ff95c5a-ccbc-4dc8-af2b-255f1ed8d179" providerId="ADAL" clId="{11E97145-5754-41D1-8D57-41038BC05B65}" dt="2022-12-14T09:37:41.625" v="895" actId="20577"/>
          <ac:spMkLst>
            <pc:docMk/>
            <pc:sldMk cId="202545387" sldId="315"/>
            <ac:spMk id="7" creationId="{48C1550A-2F41-4FBE-AB88-F739E650F224}"/>
          </ac:spMkLst>
        </pc:spChg>
      </pc:sldChg>
      <pc:sldChg chg="addSp delSp modSp mod">
        <pc:chgData name="Lechner, Pirmin (Allianz SE)" userId="4ff95c5a-ccbc-4dc8-af2b-255f1ed8d179" providerId="ADAL" clId="{11E97145-5754-41D1-8D57-41038BC05B65}" dt="2022-12-14T09:38:38.140" v="906" actId="20577"/>
        <pc:sldMkLst>
          <pc:docMk/>
          <pc:sldMk cId="2615612162" sldId="320"/>
        </pc:sldMkLst>
        <pc:spChg chg="mod">
          <ac:chgData name="Lechner, Pirmin (Allianz SE)" userId="4ff95c5a-ccbc-4dc8-af2b-255f1ed8d179" providerId="ADAL" clId="{11E97145-5754-41D1-8D57-41038BC05B65}" dt="2022-12-14T09:38:38.140" v="906" actId="20577"/>
          <ac:spMkLst>
            <pc:docMk/>
            <pc:sldMk cId="2615612162" sldId="320"/>
            <ac:spMk id="6" creationId="{F4A817E4-52F2-465E-B6BF-E8C669B80413}"/>
          </ac:spMkLst>
        </pc:spChg>
        <pc:spChg chg="mod">
          <ac:chgData name="Lechner, Pirmin (Allianz SE)" userId="4ff95c5a-ccbc-4dc8-af2b-255f1ed8d179" providerId="ADAL" clId="{11E97145-5754-41D1-8D57-41038BC05B65}" dt="2022-12-14T09:19:54.397" v="553" actId="108"/>
          <ac:spMkLst>
            <pc:docMk/>
            <pc:sldMk cId="2615612162" sldId="320"/>
            <ac:spMk id="42" creationId="{B4BD2AB6-06C6-4929-9631-2ECA8CF3BCE3}"/>
          </ac:spMkLst>
        </pc:spChg>
        <pc:spChg chg="mod">
          <ac:chgData name="Lechner, Pirmin (Allianz SE)" userId="4ff95c5a-ccbc-4dc8-af2b-255f1ed8d179" providerId="ADAL" clId="{11E97145-5754-41D1-8D57-41038BC05B65}" dt="2022-12-14T09:20:01.665" v="555" actId="108"/>
          <ac:spMkLst>
            <pc:docMk/>
            <pc:sldMk cId="2615612162" sldId="320"/>
            <ac:spMk id="44" creationId="{0C4F8E15-AF68-4251-82F8-DB5BAB1D86B5}"/>
          </ac:spMkLst>
        </pc:spChg>
        <pc:spChg chg="mod">
          <ac:chgData name="Lechner, Pirmin (Allianz SE)" userId="4ff95c5a-ccbc-4dc8-af2b-255f1ed8d179" providerId="ADAL" clId="{11E97145-5754-41D1-8D57-41038BC05B65}" dt="2022-12-14T09:20:08.623" v="557" actId="108"/>
          <ac:spMkLst>
            <pc:docMk/>
            <pc:sldMk cId="2615612162" sldId="320"/>
            <ac:spMk id="46" creationId="{5DDF3AAE-B3F7-428F-964C-78037008BBA3}"/>
          </ac:spMkLst>
        </pc:spChg>
        <pc:spChg chg="mod">
          <ac:chgData name="Lechner, Pirmin (Allianz SE)" userId="4ff95c5a-ccbc-4dc8-af2b-255f1ed8d179" providerId="ADAL" clId="{11E97145-5754-41D1-8D57-41038BC05B65}" dt="2022-12-14T09:21:43.649" v="579" actId="108"/>
          <ac:spMkLst>
            <pc:docMk/>
            <pc:sldMk cId="2615612162" sldId="320"/>
            <ac:spMk id="49" creationId="{596BF169-F508-4B0D-A316-9F0A1965994F}"/>
          </ac:spMkLst>
        </pc:spChg>
        <pc:spChg chg="mod">
          <ac:chgData name="Lechner, Pirmin (Allianz SE)" userId="4ff95c5a-ccbc-4dc8-af2b-255f1ed8d179" providerId="ADAL" clId="{11E97145-5754-41D1-8D57-41038BC05B65}" dt="2022-12-14T09:26:08.030" v="882" actId="20577"/>
          <ac:spMkLst>
            <pc:docMk/>
            <pc:sldMk cId="2615612162" sldId="320"/>
            <ac:spMk id="51" creationId="{2A398624-3A86-4F25-B897-C9688699D49B}"/>
          </ac:spMkLst>
        </pc:spChg>
        <pc:spChg chg="mod">
          <ac:chgData name="Lechner, Pirmin (Allianz SE)" userId="4ff95c5a-ccbc-4dc8-af2b-255f1ed8d179" providerId="ADAL" clId="{11E97145-5754-41D1-8D57-41038BC05B65}" dt="2022-12-14T09:20:58.199" v="569"/>
          <ac:spMkLst>
            <pc:docMk/>
            <pc:sldMk cId="2615612162" sldId="320"/>
            <ac:spMk id="53" creationId="{52BA0066-C6BA-419C-80AB-08CB7E062933}"/>
          </ac:spMkLst>
        </pc:spChg>
        <pc:spChg chg="mod">
          <ac:chgData name="Lechner, Pirmin (Allianz SE)" userId="4ff95c5a-ccbc-4dc8-af2b-255f1ed8d179" providerId="ADAL" clId="{11E97145-5754-41D1-8D57-41038BC05B65}" dt="2022-12-14T09:22:23.920" v="584" actId="164"/>
          <ac:spMkLst>
            <pc:docMk/>
            <pc:sldMk cId="2615612162" sldId="320"/>
            <ac:spMk id="56" creationId="{16CA5BB3-6D1B-4FA0-AAAE-D98100575713}"/>
          </ac:spMkLst>
        </pc:spChg>
        <pc:spChg chg="del">
          <ac:chgData name="Lechner, Pirmin (Allianz SE)" userId="4ff95c5a-ccbc-4dc8-af2b-255f1ed8d179" providerId="ADAL" clId="{11E97145-5754-41D1-8D57-41038BC05B65}" dt="2022-12-14T09:25:10.876" v="876" actId="478"/>
          <ac:spMkLst>
            <pc:docMk/>
            <pc:sldMk cId="2615612162" sldId="320"/>
            <ac:spMk id="59" creationId="{3ACE1962-D260-44EA-AFA8-772B66353A66}"/>
          </ac:spMkLst>
        </pc:spChg>
        <pc:spChg chg="del mod">
          <ac:chgData name="Lechner, Pirmin (Allianz SE)" userId="4ff95c5a-ccbc-4dc8-af2b-255f1ed8d179" providerId="ADAL" clId="{11E97145-5754-41D1-8D57-41038BC05B65}" dt="2022-12-14T09:25:13.111" v="878" actId="478"/>
          <ac:spMkLst>
            <pc:docMk/>
            <pc:sldMk cId="2615612162" sldId="320"/>
            <ac:spMk id="63" creationId="{20C5A9CA-0AF1-456E-9ADB-C828AFC1B0C8}"/>
          </ac:spMkLst>
        </pc:spChg>
        <pc:spChg chg="mod">
          <ac:chgData name="Lechner, Pirmin (Allianz SE)" userId="4ff95c5a-ccbc-4dc8-af2b-255f1ed8d179" providerId="ADAL" clId="{11E97145-5754-41D1-8D57-41038BC05B65}" dt="2022-12-14T09:14:12.212" v="503" actId="108"/>
          <ac:spMkLst>
            <pc:docMk/>
            <pc:sldMk cId="2615612162" sldId="320"/>
            <ac:spMk id="70" creationId="{1910B73C-525F-4F5F-BC9D-0EBF81723D05}"/>
          </ac:spMkLst>
        </pc:spChg>
        <pc:spChg chg="mod">
          <ac:chgData name="Lechner, Pirmin (Allianz SE)" userId="4ff95c5a-ccbc-4dc8-af2b-255f1ed8d179" providerId="ADAL" clId="{11E97145-5754-41D1-8D57-41038BC05B65}" dt="2022-12-14T09:12:46.662" v="489" actId="108"/>
          <ac:spMkLst>
            <pc:docMk/>
            <pc:sldMk cId="2615612162" sldId="320"/>
            <ac:spMk id="72" creationId="{C13EC5E9-CEA1-4C62-AA69-4CD90E54412C}"/>
          </ac:spMkLst>
        </pc:spChg>
        <pc:spChg chg="mod">
          <ac:chgData name="Lechner, Pirmin (Allianz SE)" userId="4ff95c5a-ccbc-4dc8-af2b-255f1ed8d179" providerId="ADAL" clId="{11E97145-5754-41D1-8D57-41038BC05B65}" dt="2022-12-14T09:13:10.146" v="492" actId="1076"/>
          <ac:spMkLst>
            <pc:docMk/>
            <pc:sldMk cId="2615612162" sldId="320"/>
            <ac:spMk id="73" creationId="{20F3F096-CB4E-4C09-BA9C-CAA4A1DE87BF}"/>
          </ac:spMkLst>
        </pc:spChg>
        <pc:spChg chg="mod">
          <ac:chgData name="Lechner, Pirmin (Allianz SE)" userId="4ff95c5a-ccbc-4dc8-af2b-255f1ed8d179" providerId="ADAL" clId="{11E97145-5754-41D1-8D57-41038BC05B65}" dt="2022-12-14T09:12:51.990" v="490" actId="108"/>
          <ac:spMkLst>
            <pc:docMk/>
            <pc:sldMk cId="2615612162" sldId="320"/>
            <ac:spMk id="74" creationId="{B88CC575-4FE5-4728-9D9F-C000E485ECD4}"/>
          </ac:spMkLst>
        </pc:spChg>
        <pc:spChg chg="mod">
          <ac:chgData name="Lechner, Pirmin (Allianz SE)" userId="4ff95c5a-ccbc-4dc8-af2b-255f1ed8d179" providerId="ADAL" clId="{11E97145-5754-41D1-8D57-41038BC05B65}" dt="2022-12-14T09:25:33.380" v="881" actId="1038"/>
          <ac:spMkLst>
            <pc:docMk/>
            <pc:sldMk cId="2615612162" sldId="320"/>
            <ac:spMk id="79" creationId="{A74B6956-1B7B-4A18-973F-A5FACFE2F02A}"/>
          </ac:spMkLst>
        </pc:spChg>
        <pc:spChg chg="mod">
          <ac:chgData name="Lechner, Pirmin (Allianz SE)" userId="4ff95c5a-ccbc-4dc8-af2b-255f1ed8d179" providerId="ADAL" clId="{11E97145-5754-41D1-8D57-41038BC05B65}" dt="2022-12-14T09:21:49.284" v="580" actId="108"/>
          <ac:spMkLst>
            <pc:docMk/>
            <pc:sldMk cId="2615612162" sldId="320"/>
            <ac:spMk id="81" creationId="{256C26F5-66EE-46E8-9A26-F5B85CBD8DC3}"/>
          </ac:spMkLst>
        </pc:spChg>
        <pc:spChg chg="mod">
          <ac:chgData name="Lechner, Pirmin (Allianz SE)" userId="4ff95c5a-ccbc-4dc8-af2b-255f1ed8d179" providerId="ADAL" clId="{11E97145-5754-41D1-8D57-41038BC05B65}" dt="2022-12-14T09:21:51.505" v="581" actId="108"/>
          <ac:spMkLst>
            <pc:docMk/>
            <pc:sldMk cId="2615612162" sldId="320"/>
            <ac:spMk id="83" creationId="{6720C115-E2AA-470A-BFF7-13B218902E86}"/>
          </ac:spMkLst>
        </pc:spChg>
        <pc:spChg chg="add del">
          <ac:chgData name="Lechner, Pirmin (Allianz SE)" userId="4ff95c5a-ccbc-4dc8-af2b-255f1ed8d179" providerId="ADAL" clId="{11E97145-5754-41D1-8D57-41038BC05B65}" dt="2022-12-14T09:20:33.286" v="562" actId="22"/>
          <ac:spMkLst>
            <pc:docMk/>
            <pc:sldMk cId="2615612162" sldId="320"/>
            <ac:spMk id="84" creationId="{AF4BA2DF-CF02-4C23-AD5F-8C59C906611C}"/>
          </ac:spMkLst>
        </pc:spChg>
        <pc:spChg chg="mod">
          <ac:chgData name="Lechner, Pirmin (Allianz SE)" userId="4ff95c5a-ccbc-4dc8-af2b-255f1ed8d179" providerId="ADAL" clId="{11E97145-5754-41D1-8D57-41038BC05B65}" dt="2022-12-14T09:21:58.238" v="583" actId="108"/>
          <ac:spMkLst>
            <pc:docMk/>
            <pc:sldMk cId="2615612162" sldId="320"/>
            <ac:spMk id="86" creationId="{6AFAAB8B-8795-4972-8EB1-01FE82DB2291}"/>
          </ac:spMkLst>
        </pc:spChg>
        <pc:spChg chg="mod">
          <ac:chgData name="Lechner, Pirmin (Allianz SE)" userId="4ff95c5a-ccbc-4dc8-af2b-255f1ed8d179" providerId="ADAL" clId="{11E97145-5754-41D1-8D57-41038BC05B65}" dt="2022-12-14T09:18:42.705" v="520" actId="20577"/>
          <ac:spMkLst>
            <pc:docMk/>
            <pc:sldMk cId="2615612162" sldId="320"/>
            <ac:spMk id="88" creationId="{16A95FC5-644E-4334-B6EF-883491E54F78}"/>
          </ac:spMkLst>
        </pc:spChg>
        <pc:spChg chg="mod">
          <ac:chgData name="Lechner, Pirmin (Allianz SE)" userId="4ff95c5a-ccbc-4dc8-af2b-255f1ed8d179" providerId="ADAL" clId="{11E97145-5754-41D1-8D57-41038BC05B65}" dt="2022-12-14T09:19:16.545" v="546"/>
          <ac:spMkLst>
            <pc:docMk/>
            <pc:sldMk cId="2615612162" sldId="320"/>
            <ac:spMk id="90" creationId="{430E88E1-6BC3-4E6B-9C39-6EA528855CF9}"/>
          </ac:spMkLst>
        </pc:spChg>
        <pc:spChg chg="add del">
          <ac:chgData name="Lechner, Pirmin (Allianz SE)" userId="4ff95c5a-ccbc-4dc8-af2b-255f1ed8d179" providerId="ADAL" clId="{11E97145-5754-41D1-8D57-41038BC05B65}" dt="2022-12-14T09:20:38.857" v="564" actId="22"/>
          <ac:spMkLst>
            <pc:docMk/>
            <pc:sldMk cId="2615612162" sldId="320"/>
            <ac:spMk id="91" creationId="{F2D5267E-D811-49A6-AA53-6ECDC0C4AA64}"/>
          </ac:spMkLst>
        </pc:spChg>
        <pc:spChg chg="mod">
          <ac:chgData name="Lechner, Pirmin (Allianz SE)" userId="4ff95c5a-ccbc-4dc8-af2b-255f1ed8d179" providerId="ADAL" clId="{11E97145-5754-41D1-8D57-41038BC05B65}" dt="2022-12-14T09:17:36.002" v="518" actId="108"/>
          <ac:spMkLst>
            <pc:docMk/>
            <pc:sldMk cId="2615612162" sldId="320"/>
            <ac:spMk id="93" creationId="{7AA211AF-620D-43D0-99A7-E207243C995A}"/>
          </ac:spMkLst>
        </pc:spChg>
        <pc:spChg chg="mod">
          <ac:chgData name="Lechner, Pirmin (Allianz SE)" userId="4ff95c5a-ccbc-4dc8-af2b-255f1ed8d179" providerId="ADAL" clId="{11E97145-5754-41D1-8D57-41038BC05B65}" dt="2022-12-14T09:15:10.478" v="505" actId="108"/>
          <ac:spMkLst>
            <pc:docMk/>
            <pc:sldMk cId="2615612162" sldId="320"/>
            <ac:spMk id="95" creationId="{3CF3C409-7122-415B-9D5D-94C43B49D49E}"/>
          </ac:spMkLst>
        </pc:spChg>
        <pc:spChg chg="mod">
          <ac:chgData name="Lechner, Pirmin (Allianz SE)" userId="4ff95c5a-ccbc-4dc8-af2b-255f1ed8d179" providerId="ADAL" clId="{11E97145-5754-41D1-8D57-41038BC05B65}" dt="2022-12-14T09:15:17.749" v="506" actId="108"/>
          <ac:spMkLst>
            <pc:docMk/>
            <pc:sldMk cId="2615612162" sldId="320"/>
            <ac:spMk id="97" creationId="{668C1CA0-A7DA-4EB2-B966-5F50DA58FDBC}"/>
          </ac:spMkLst>
        </pc:spChg>
        <pc:spChg chg="mod">
          <ac:chgData name="Lechner, Pirmin (Allianz SE)" userId="4ff95c5a-ccbc-4dc8-af2b-255f1ed8d179" providerId="ADAL" clId="{11E97145-5754-41D1-8D57-41038BC05B65}" dt="2022-12-14T09:24:02.802" v="849" actId="20577"/>
          <ac:spMkLst>
            <pc:docMk/>
            <pc:sldMk cId="2615612162" sldId="320"/>
            <ac:spMk id="100" creationId="{73BCAD03-5562-45A9-86C6-55327091BC99}"/>
          </ac:spMkLst>
        </pc:spChg>
        <pc:spChg chg="mod">
          <ac:chgData name="Lechner, Pirmin (Allianz SE)" userId="4ff95c5a-ccbc-4dc8-af2b-255f1ed8d179" providerId="ADAL" clId="{11E97145-5754-41D1-8D57-41038BC05B65}" dt="2022-12-14T09:23:24.677" v="831"/>
          <ac:spMkLst>
            <pc:docMk/>
            <pc:sldMk cId="2615612162" sldId="320"/>
            <ac:spMk id="101" creationId="{F5125C0B-5015-4D16-AE82-AECDEA1BC20E}"/>
          </ac:spMkLst>
        </pc:spChg>
        <pc:spChg chg="mod">
          <ac:chgData name="Lechner, Pirmin (Allianz SE)" userId="4ff95c5a-ccbc-4dc8-af2b-255f1ed8d179" providerId="ADAL" clId="{11E97145-5754-41D1-8D57-41038BC05B65}" dt="2022-12-14T09:24:08.486" v="854" actId="20577"/>
          <ac:spMkLst>
            <pc:docMk/>
            <pc:sldMk cId="2615612162" sldId="320"/>
            <ac:spMk id="102" creationId="{099F0A1C-5DEC-4FE3-9675-CF49633535A0}"/>
          </ac:spMkLst>
        </pc:spChg>
        <pc:spChg chg="add mod">
          <ac:chgData name="Lechner, Pirmin (Allianz SE)" userId="4ff95c5a-ccbc-4dc8-af2b-255f1ed8d179" providerId="ADAL" clId="{11E97145-5754-41D1-8D57-41038BC05B65}" dt="2022-12-14T09:24:14.729" v="860" actId="20577"/>
          <ac:spMkLst>
            <pc:docMk/>
            <pc:sldMk cId="2615612162" sldId="320"/>
            <ac:spMk id="103" creationId="{9DEF5BCE-27AC-49F1-9C1F-A066ADF72FC0}"/>
          </ac:spMkLst>
        </pc:spChg>
        <pc:spChg chg="mod">
          <ac:chgData name="Lechner, Pirmin (Allianz SE)" userId="4ff95c5a-ccbc-4dc8-af2b-255f1ed8d179" providerId="ADAL" clId="{11E97145-5754-41D1-8D57-41038BC05B65}" dt="2022-12-14T09:24:50.010" v="866" actId="20577"/>
          <ac:spMkLst>
            <pc:docMk/>
            <pc:sldMk cId="2615612162" sldId="320"/>
            <ac:spMk id="106" creationId="{92678D80-A3E0-440A-9AFB-8A5B30A1BC1F}"/>
          </ac:spMkLst>
        </pc:spChg>
        <pc:spChg chg="mod">
          <ac:chgData name="Lechner, Pirmin (Allianz SE)" userId="4ff95c5a-ccbc-4dc8-af2b-255f1ed8d179" providerId="ADAL" clId="{11E97145-5754-41D1-8D57-41038BC05B65}" dt="2022-12-14T09:24:22.364" v="861"/>
          <ac:spMkLst>
            <pc:docMk/>
            <pc:sldMk cId="2615612162" sldId="320"/>
            <ac:spMk id="107" creationId="{FCE50E94-3B8F-4814-9438-BC4DD9A2617C}"/>
          </ac:spMkLst>
        </pc:spChg>
        <pc:spChg chg="mod">
          <ac:chgData name="Lechner, Pirmin (Allianz SE)" userId="4ff95c5a-ccbc-4dc8-af2b-255f1ed8d179" providerId="ADAL" clId="{11E97145-5754-41D1-8D57-41038BC05B65}" dt="2022-12-14T09:24:57.580" v="871" actId="20577"/>
          <ac:spMkLst>
            <pc:docMk/>
            <pc:sldMk cId="2615612162" sldId="320"/>
            <ac:spMk id="108" creationId="{999B58B0-D5CE-4096-8B71-C8CEFEE759D9}"/>
          </ac:spMkLst>
        </pc:spChg>
        <pc:spChg chg="add mod">
          <ac:chgData name="Lechner, Pirmin (Allianz SE)" userId="4ff95c5a-ccbc-4dc8-af2b-255f1ed8d179" providerId="ADAL" clId="{11E97145-5754-41D1-8D57-41038BC05B65}" dt="2022-12-14T09:25:06.038" v="874"/>
          <ac:spMkLst>
            <pc:docMk/>
            <pc:sldMk cId="2615612162" sldId="320"/>
            <ac:spMk id="109" creationId="{1CADC78F-3E92-4933-9D72-9164E117A759}"/>
          </ac:spMkLst>
        </pc:spChg>
        <pc:grpChg chg="add del mod">
          <ac:chgData name="Lechner, Pirmin (Allianz SE)" userId="4ff95c5a-ccbc-4dc8-af2b-255f1ed8d179" providerId="ADAL" clId="{11E97145-5754-41D1-8D57-41038BC05B65}" dt="2022-12-14T09:25:12.071" v="877" actId="478"/>
          <ac:grpSpMkLst>
            <pc:docMk/>
            <pc:sldMk cId="2615612162" sldId="320"/>
            <ac:grpSpMk id="28" creationId="{A8698FD8-9387-4797-A804-771F01EFAC6D}"/>
          </ac:grpSpMkLst>
        </pc:grpChg>
        <pc:grpChg chg="mod">
          <ac:chgData name="Lechner, Pirmin (Allianz SE)" userId="4ff95c5a-ccbc-4dc8-af2b-255f1ed8d179" providerId="ADAL" clId="{11E97145-5754-41D1-8D57-41038BC05B65}" dt="2022-12-14T09:22:23.920" v="584" actId="164"/>
          <ac:grpSpMkLst>
            <pc:docMk/>
            <pc:sldMk cId="2615612162" sldId="320"/>
            <ac:grpSpMk id="55" creationId="{38BED337-1A5C-4AFD-8DD0-3EC5465879D3}"/>
          </ac:grpSpMkLst>
        </pc:grpChg>
        <pc:grpChg chg="del">
          <ac:chgData name="Lechner, Pirmin (Allianz SE)" userId="4ff95c5a-ccbc-4dc8-af2b-255f1ed8d179" providerId="ADAL" clId="{11E97145-5754-41D1-8D57-41038BC05B65}" dt="2022-12-14T09:25:13.913" v="879" actId="478"/>
          <ac:grpSpMkLst>
            <pc:docMk/>
            <pc:sldMk cId="2615612162" sldId="320"/>
            <ac:grpSpMk id="62" creationId="{2B30D642-BE85-40F8-A58D-8CB8FF6B0F6B}"/>
          </ac:grpSpMkLst>
        </pc:grpChg>
        <pc:grpChg chg="mod">
          <ac:chgData name="Lechner, Pirmin (Allianz SE)" userId="4ff95c5a-ccbc-4dc8-af2b-255f1ed8d179" providerId="ADAL" clId="{11E97145-5754-41D1-8D57-41038BC05B65}" dt="2022-12-14T09:25:33.380" v="881" actId="1038"/>
          <ac:grpSpMkLst>
            <pc:docMk/>
            <pc:sldMk cId="2615612162" sldId="320"/>
            <ac:grpSpMk id="77" creationId="{574DE4B7-44BC-4F86-84E2-04188E35B0D8}"/>
          </ac:grpSpMkLst>
        </pc:grpChg>
        <pc:grpChg chg="add mod">
          <ac:chgData name="Lechner, Pirmin (Allianz SE)" userId="4ff95c5a-ccbc-4dc8-af2b-255f1ed8d179" providerId="ADAL" clId="{11E97145-5754-41D1-8D57-41038BC05B65}" dt="2022-12-14T09:23:53.402" v="832" actId="1076"/>
          <ac:grpSpMkLst>
            <pc:docMk/>
            <pc:sldMk cId="2615612162" sldId="320"/>
            <ac:grpSpMk id="98" creationId="{98D82FC8-5544-4EFE-8A0A-D6F24BA63519}"/>
          </ac:grpSpMkLst>
        </pc:grpChg>
        <pc:grpChg chg="add mod">
          <ac:chgData name="Lechner, Pirmin (Allianz SE)" userId="4ff95c5a-ccbc-4dc8-af2b-255f1ed8d179" providerId="ADAL" clId="{11E97145-5754-41D1-8D57-41038BC05B65}" dt="2022-12-14T09:24:42.123" v="862" actId="1076"/>
          <ac:grpSpMkLst>
            <pc:docMk/>
            <pc:sldMk cId="2615612162" sldId="320"/>
            <ac:grpSpMk id="104" creationId="{DFC9AF17-5865-40C3-91A8-1C4828E71AAA}"/>
          </ac:grpSpMkLst>
        </pc:grpChg>
        <pc:picChg chg="mod">
          <ac:chgData name="Lechner, Pirmin (Allianz SE)" userId="4ff95c5a-ccbc-4dc8-af2b-255f1ed8d179" providerId="ADAL" clId="{11E97145-5754-41D1-8D57-41038BC05B65}" dt="2022-12-14T09:23:24.677" v="831"/>
          <ac:picMkLst>
            <pc:docMk/>
            <pc:sldMk cId="2615612162" sldId="320"/>
            <ac:picMk id="99" creationId="{65BB7F1B-7F20-43FB-AF0D-6F073C312FBA}"/>
          </ac:picMkLst>
        </pc:picChg>
        <pc:picChg chg="mod">
          <ac:chgData name="Lechner, Pirmin (Allianz SE)" userId="4ff95c5a-ccbc-4dc8-af2b-255f1ed8d179" providerId="ADAL" clId="{11E97145-5754-41D1-8D57-41038BC05B65}" dt="2022-12-14T09:24:22.364" v="861"/>
          <ac:picMkLst>
            <pc:docMk/>
            <pc:sldMk cId="2615612162" sldId="320"/>
            <ac:picMk id="105" creationId="{4E636947-1E67-49CD-AB00-0F9848D341FD}"/>
          </ac:picMkLst>
        </pc:picChg>
      </pc:sldChg>
      <pc:sldChg chg="ord">
        <pc:chgData name="Lechner, Pirmin (Allianz SE)" userId="4ff95c5a-ccbc-4dc8-af2b-255f1ed8d179" providerId="ADAL" clId="{11E97145-5754-41D1-8D57-41038BC05B65}" dt="2022-12-14T09:46:11.598" v="910"/>
        <pc:sldMkLst>
          <pc:docMk/>
          <pc:sldMk cId="1673016897" sldId="322"/>
        </pc:sldMkLst>
      </pc:sldChg>
      <pc:sldChg chg="ord">
        <pc:chgData name="Lechner, Pirmin (Allianz SE)" userId="4ff95c5a-ccbc-4dc8-af2b-255f1ed8d179" providerId="ADAL" clId="{11E97145-5754-41D1-8D57-41038BC05B65}" dt="2022-12-14T09:46:21.439" v="914"/>
        <pc:sldMkLst>
          <pc:docMk/>
          <pc:sldMk cId="2336342226" sldId="2147474839"/>
        </pc:sldMkLst>
      </pc:sldChg>
      <pc:sldChg chg="modSp mod">
        <pc:chgData name="Lechner, Pirmin (Allianz SE)" userId="4ff95c5a-ccbc-4dc8-af2b-255f1ed8d179" providerId="ADAL" clId="{11E97145-5754-41D1-8D57-41038BC05B65}" dt="2022-12-14T08:46:33.075" v="135" actId="313"/>
        <pc:sldMkLst>
          <pc:docMk/>
          <pc:sldMk cId="130873753" sldId="2147474841"/>
        </pc:sldMkLst>
        <pc:spChg chg="mod">
          <ac:chgData name="Lechner, Pirmin (Allianz SE)" userId="4ff95c5a-ccbc-4dc8-af2b-255f1ed8d179" providerId="ADAL" clId="{11E97145-5754-41D1-8D57-41038BC05B65}" dt="2022-12-14T08:46:18.021" v="133" actId="208"/>
          <ac:spMkLst>
            <pc:docMk/>
            <pc:sldMk cId="130873753" sldId="2147474841"/>
            <ac:spMk id="101" creationId="{4638133F-68AF-44A8-91C4-F2E3ABA275B3}"/>
          </ac:spMkLst>
        </pc:spChg>
        <pc:graphicFrameChg chg="modGraphic">
          <ac:chgData name="Lechner, Pirmin (Allianz SE)" userId="4ff95c5a-ccbc-4dc8-af2b-255f1ed8d179" providerId="ADAL" clId="{11E97145-5754-41D1-8D57-41038BC05B65}" dt="2022-12-14T08:46:33.075" v="135" actId="313"/>
          <ac:graphicFrameMkLst>
            <pc:docMk/>
            <pc:sldMk cId="130873753" sldId="2147474841"/>
            <ac:graphicFrameMk id="258" creationId="{D3FDEBFA-818A-B4E7-FDBD-22BC4994CBFA}"/>
          </ac:graphicFrameMkLst>
        </pc:graphicFrameChg>
      </pc:sldChg>
      <pc:sldChg chg="del">
        <pc:chgData name="Lechner, Pirmin (Allianz SE)" userId="4ff95c5a-ccbc-4dc8-af2b-255f1ed8d179" providerId="ADAL" clId="{11E97145-5754-41D1-8D57-41038BC05B65}" dt="2022-12-14T09:46:27.755" v="915" actId="47"/>
        <pc:sldMkLst>
          <pc:docMk/>
          <pc:sldMk cId="3931056620" sldId="2147474844"/>
        </pc:sldMkLst>
      </pc:sldChg>
      <pc:sldChg chg="addSp delSp modSp mod">
        <pc:chgData name="Lechner, Pirmin (Allianz SE)" userId="4ff95c5a-ccbc-4dc8-af2b-255f1ed8d179" providerId="ADAL" clId="{11E97145-5754-41D1-8D57-41038BC05B65}" dt="2022-12-14T10:36:25.772" v="1304" actId="20577"/>
        <pc:sldMkLst>
          <pc:docMk/>
          <pc:sldMk cId="958813429" sldId="2147474845"/>
        </pc:sldMkLst>
        <pc:spChg chg="mod">
          <ac:chgData name="Lechner, Pirmin (Allianz SE)" userId="4ff95c5a-ccbc-4dc8-af2b-255f1ed8d179" providerId="ADAL" clId="{11E97145-5754-41D1-8D57-41038BC05B65}" dt="2022-12-14T08:41:17.170" v="94" actId="208"/>
          <ac:spMkLst>
            <pc:docMk/>
            <pc:sldMk cId="958813429" sldId="2147474845"/>
            <ac:spMk id="3" creationId="{E1AB640A-255F-481D-AEC9-511B2E2353C0}"/>
          </ac:spMkLst>
        </pc:spChg>
        <pc:spChg chg="mod">
          <ac:chgData name="Lechner, Pirmin (Allianz SE)" userId="4ff95c5a-ccbc-4dc8-af2b-255f1ed8d179" providerId="ADAL" clId="{11E97145-5754-41D1-8D57-41038BC05B65}" dt="2022-12-14T08:40:28.659" v="87" actId="20577"/>
          <ac:spMkLst>
            <pc:docMk/>
            <pc:sldMk cId="958813429" sldId="2147474845"/>
            <ac:spMk id="66" creationId="{41B25DE8-E329-4069-A7B1-84E0A8619702}"/>
          </ac:spMkLst>
        </pc:spChg>
        <pc:spChg chg="mod">
          <ac:chgData name="Lechner, Pirmin (Allianz SE)" userId="4ff95c5a-ccbc-4dc8-af2b-255f1ed8d179" providerId="ADAL" clId="{11E97145-5754-41D1-8D57-41038BC05B65}" dt="2022-12-14T08:36:33" v="7" actId="1076"/>
          <ac:spMkLst>
            <pc:docMk/>
            <pc:sldMk cId="958813429" sldId="2147474845"/>
            <ac:spMk id="76" creationId="{3A79E469-4C13-451E-9142-79A537DF72C8}"/>
          </ac:spMkLst>
        </pc:spChg>
        <pc:spChg chg="mod">
          <ac:chgData name="Lechner, Pirmin (Allianz SE)" userId="4ff95c5a-ccbc-4dc8-af2b-255f1ed8d179" providerId="ADAL" clId="{11E97145-5754-41D1-8D57-41038BC05B65}" dt="2022-12-14T08:40:32.554" v="88" actId="20577"/>
          <ac:spMkLst>
            <pc:docMk/>
            <pc:sldMk cId="958813429" sldId="2147474845"/>
            <ac:spMk id="151" creationId="{CF65F621-B269-42FE-933E-0EF146862F5D}"/>
          </ac:spMkLst>
        </pc:spChg>
        <pc:spChg chg="mod">
          <ac:chgData name="Lechner, Pirmin (Allianz SE)" userId="4ff95c5a-ccbc-4dc8-af2b-255f1ed8d179" providerId="ADAL" clId="{11E97145-5754-41D1-8D57-41038BC05B65}" dt="2022-12-14T08:40:57.034" v="91" actId="208"/>
          <ac:spMkLst>
            <pc:docMk/>
            <pc:sldMk cId="958813429" sldId="2147474845"/>
            <ac:spMk id="159" creationId="{64392310-F05A-4967-B64B-87997CE9B328}"/>
          </ac:spMkLst>
        </pc:spChg>
        <pc:spChg chg="mod">
          <ac:chgData name="Lechner, Pirmin (Allianz SE)" userId="4ff95c5a-ccbc-4dc8-af2b-255f1ed8d179" providerId="ADAL" clId="{11E97145-5754-41D1-8D57-41038BC05B65}" dt="2022-12-14T08:41:04.257" v="93" actId="20577"/>
          <ac:spMkLst>
            <pc:docMk/>
            <pc:sldMk cId="958813429" sldId="2147474845"/>
            <ac:spMk id="160" creationId="{3499B9D6-6CE8-4D3C-9C2A-F454B4997FAB}"/>
          </ac:spMkLst>
        </pc:spChg>
        <pc:spChg chg="mod">
          <ac:chgData name="Lechner, Pirmin (Allianz SE)" userId="4ff95c5a-ccbc-4dc8-af2b-255f1ed8d179" providerId="ADAL" clId="{11E97145-5754-41D1-8D57-41038BC05B65}" dt="2022-12-14T08:40:15.932" v="78" actId="207"/>
          <ac:spMkLst>
            <pc:docMk/>
            <pc:sldMk cId="958813429" sldId="2147474845"/>
            <ac:spMk id="161" creationId="{20595C0A-66D0-4A14-865B-4FDC5BEAE1DD}"/>
          </ac:spMkLst>
        </pc:spChg>
        <pc:spChg chg="add del mod">
          <ac:chgData name="Lechner, Pirmin (Allianz SE)" userId="4ff95c5a-ccbc-4dc8-af2b-255f1ed8d179" providerId="ADAL" clId="{11E97145-5754-41D1-8D57-41038BC05B65}" dt="2022-12-14T10:36:09.129" v="1301" actId="20577"/>
          <ac:spMkLst>
            <pc:docMk/>
            <pc:sldMk cId="958813429" sldId="2147474845"/>
            <ac:spMk id="169" creationId="{918D26E4-908E-498E-B642-56B84D653F18}"/>
          </ac:spMkLst>
        </pc:spChg>
        <pc:spChg chg="add del mod topLvl">
          <ac:chgData name="Lechner, Pirmin (Allianz SE)" userId="4ff95c5a-ccbc-4dc8-af2b-255f1ed8d179" providerId="ADAL" clId="{11E97145-5754-41D1-8D57-41038BC05B65}" dt="2022-12-14T10:35:59.733" v="1293" actId="478"/>
          <ac:spMkLst>
            <pc:docMk/>
            <pc:sldMk cId="958813429" sldId="2147474845"/>
            <ac:spMk id="170" creationId="{716E0B8D-D257-4F15-9680-39BE8322CD20}"/>
          </ac:spMkLst>
        </pc:spChg>
        <pc:spChg chg="mod topLvl">
          <ac:chgData name="Lechner, Pirmin (Allianz SE)" userId="4ff95c5a-ccbc-4dc8-af2b-255f1ed8d179" providerId="ADAL" clId="{11E97145-5754-41D1-8D57-41038BC05B65}" dt="2022-12-14T10:36:25.772" v="1304" actId="20577"/>
          <ac:spMkLst>
            <pc:docMk/>
            <pc:sldMk cId="958813429" sldId="2147474845"/>
            <ac:spMk id="171" creationId="{6BFC1571-FD84-4D6A-BF37-5835118BF3E5}"/>
          </ac:spMkLst>
        </pc:spChg>
        <pc:grpChg chg="add del">
          <ac:chgData name="Lechner, Pirmin (Allianz SE)" userId="4ff95c5a-ccbc-4dc8-af2b-255f1ed8d179" providerId="ADAL" clId="{11E97145-5754-41D1-8D57-41038BC05B65}" dt="2022-12-14T10:35:59.733" v="1293" actId="478"/>
          <ac:grpSpMkLst>
            <pc:docMk/>
            <pc:sldMk cId="958813429" sldId="2147474845"/>
            <ac:grpSpMk id="168" creationId="{DA9F1AEC-477B-49DD-96D6-E0896517EDCB}"/>
          </ac:grpSpMkLst>
        </pc:grpChg>
      </pc:sldChg>
      <pc:sldChg chg="delSp modSp mod">
        <pc:chgData name="Lechner, Pirmin (Allianz SE)" userId="4ff95c5a-ccbc-4dc8-af2b-255f1ed8d179" providerId="ADAL" clId="{11E97145-5754-41D1-8D57-41038BC05B65}" dt="2022-12-14T08:43:01.181" v="110" actId="27107"/>
        <pc:sldMkLst>
          <pc:docMk/>
          <pc:sldMk cId="2264720345" sldId="2147474846"/>
        </pc:sldMkLst>
        <pc:spChg chg="mod">
          <ac:chgData name="Lechner, Pirmin (Allianz SE)" userId="4ff95c5a-ccbc-4dc8-af2b-255f1ed8d179" providerId="ADAL" clId="{11E97145-5754-41D1-8D57-41038BC05B65}" dt="2022-12-14T08:42:32.476" v="107" actId="20577"/>
          <ac:spMkLst>
            <pc:docMk/>
            <pc:sldMk cId="2264720345" sldId="2147474846"/>
            <ac:spMk id="2" creationId="{A6F9F02A-C31D-A383-8D30-3C46A7C27D54}"/>
          </ac:spMkLst>
        </pc:spChg>
        <pc:spChg chg="mod">
          <ac:chgData name="Lechner, Pirmin (Allianz SE)" userId="4ff95c5a-ccbc-4dc8-af2b-255f1ed8d179" providerId="ADAL" clId="{11E97145-5754-41D1-8D57-41038BC05B65}" dt="2022-12-14T08:41:39.679" v="96" actId="208"/>
          <ac:spMkLst>
            <pc:docMk/>
            <pc:sldMk cId="2264720345" sldId="2147474846"/>
            <ac:spMk id="3" creationId="{E1AB640A-255F-481D-AEC9-511B2E2353C0}"/>
          </ac:spMkLst>
        </pc:spChg>
        <pc:spChg chg="mod">
          <ac:chgData name="Lechner, Pirmin (Allianz SE)" userId="4ff95c5a-ccbc-4dc8-af2b-255f1ed8d179" providerId="ADAL" clId="{11E97145-5754-41D1-8D57-41038BC05B65}" dt="2022-12-14T08:42:58.669" v="109" actId="27107"/>
          <ac:spMkLst>
            <pc:docMk/>
            <pc:sldMk cId="2264720345" sldId="2147474846"/>
            <ac:spMk id="64" creationId="{C863B257-358A-4EDF-AA11-40F898FF646E}"/>
          </ac:spMkLst>
        </pc:spChg>
        <pc:spChg chg="mod">
          <ac:chgData name="Lechner, Pirmin (Allianz SE)" userId="4ff95c5a-ccbc-4dc8-af2b-255f1ed8d179" providerId="ADAL" clId="{11E97145-5754-41D1-8D57-41038BC05B65}" dt="2022-12-14T08:43:01.181" v="110" actId="27107"/>
          <ac:spMkLst>
            <pc:docMk/>
            <pc:sldMk cId="2264720345" sldId="2147474846"/>
            <ac:spMk id="68" creationId="{CF37CE07-3C18-4B17-BDA0-080FF340EDC9}"/>
          </ac:spMkLst>
        </pc:spChg>
        <pc:spChg chg="del">
          <ac:chgData name="Lechner, Pirmin (Allianz SE)" userId="4ff95c5a-ccbc-4dc8-af2b-255f1ed8d179" providerId="ADAL" clId="{11E97145-5754-41D1-8D57-41038BC05B65}" dt="2022-12-14T08:41:27.018" v="95" actId="478"/>
          <ac:spMkLst>
            <pc:docMk/>
            <pc:sldMk cId="2264720345" sldId="2147474846"/>
            <ac:spMk id="69" creationId="{C631977C-D5F1-49FA-B9DA-65A9CDA700DD}"/>
          </ac:spMkLst>
        </pc:spChg>
        <pc:spChg chg="mod">
          <ac:chgData name="Lechner, Pirmin (Allianz SE)" userId="4ff95c5a-ccbc-4dc8-af2b-255f1ed8d179" providerId="ADAL" clId="{11E97145-5754-41D1-8D57-41038BC05B65}" dt="2022-12-14T08:42:15.591" v="103" actId="20577"/>
          <ac:spMkLst>
            <pc:docMk/>
            <pc:sldMk cId="2264720345" sldId="2147474846"/>
            <ac:spMk id="163" creationId="{7E64066E-87E9-482D-BB63-7638142FE9B4}"/>
          </ac:spMkLst>
        </pc:spChg>
        <pc:spChg chg="mod">
          <ac:chgData name="Lechner, Pirmin (Allianz SE)" userId="4ff95c5a-ccbc-4dc8-af2b-255f1ed8d179" providerId="ADAL" clId="{11E97145-5754-41D1-8D57-41038BC05B65}" dt="2022-12-14T08:42:48.472" v="108" actId="1076"/>
          <ac:spMkLst>
            <pc:docMk/>
            <pc:sldMk cId="2264720345" sldId="2147474846"/>
            <ac:spMk id="215" creationId="{ADD3F48B-A0D0-4496-9D5E-C5B92FFC186C}"/>
          </ac:spMkLst>
        </pc:spChg>
      </pc:sldChg>
      <pc:sldChg chg="delSp modSp mod">
        <pc:chgData name="Lechner, Pirmin (Allianz SE)" userId="4ff95c5a-ccbc-4dc8-af2b-255f1ed8d179" providerId="ADAL" clId="{11E97145-5754-41D1-8D57-41038BC05B65}" dt="2022-12-14T08:39:43.492" v="76" actId="208"/>
        <pc:sldMkLst>
          <pc:docMk/>
          <pc:sldMk cId="830826902" sldId="2147474847"/>
        </pc:sldMkLst>
        <pc:spChg chg="mod">
          <ac:chgData name="Lechner, Pirmin (Allianz SE)" userId="4ff95c5a-ccbc-4dc8-af2b-255f1ed8d179" providerId="ADAL" clId="{11E97145-5754-41D1-8D57-41038BC05B65}" dt="2022-12-14T08:39:43.492" v="76" actId="208"/>
          <ac:spMkLst>
            <pc:docMk/>
            <pc:sldMk cId="830826902" sldId="2147474847"/>
            <ac:spMk id="3" creationId="{E1AB640A-255F-481D-AEC9-511B2E2353C0}"/>
          </ac:spMkLst>
        </pc:spChg>
        <pc:spChg chg="mod">
          <ac:chgData name="Lechner, Pirmin (Allianz SE)" userId="4ff95c5a-ccbc-4dc8-af2b-255f1ed8d179" providerId="ADAL" clId="{11E97145-5754-41D1-8D57-41038BC05B65}" dt="2022-12-14T08:39:32.391" v="75" actId="207"/>
          <ac:spMkLst>
            <pc:docMk/>
            <pc:sldMk cId="830826902" sldId="2147474847"/>
            <ac:spMk id="162" creationId="{E7003746-7048-4790-9863-48178D85F95F}"/>
          </ac:spMkLst>
        </pc:spChg>
        <pc:spChg chg="del">
          <ac:chgData name="Lechner, Pirmin (Allianz SE)" userId="4ff95c5a-ccbc-4dc8-af2b-255f1ed8d179" providerId="ADAL" clId="{11E97145-5754-41D1-8D57-41038BC05B65}" dt="2022-12-14T08:38:03.352" v="21" actId="478"/>
          <ac:spMkLst>
            <pc:docMk/>
            <pc:sldMk cId="830826902" sldId="2147474847"/>
            <ac:spMk id="163" creationId="{D5F6C6D4-076C-4197-9454-381B0E5A598A}"/>
          </ac:spMkLst>
        </pc:spChg>
        <pc:graphicFrameChg chg="modGraphic">
          <ac:chgData name="Lechner, Pirmin (Allianz SE)" userId="4ff95c5a-ccbc-4dc8-af2b-255f1ed8d179" providerId="ADAL" clId="{11E97145-5754-41D1-8D57-41038BC05B65}" dt="2022-12-14T08:37:43.444" v="20" actId="20577"/>
          <ac:graphicFrameMkLst>
            <pc:docMk/>
            <pc:sldMk cId="830826902" sldId="2147474847"/>
            <ac:graphicFrameMk id="148" creationId="{419F461E-6284-4F84-BDC7-8829820665E6}"/>
          </ac:graphicFrameMkLst>
        </pc:graphicFrameChg>
      </pc:sldChg>
      <pc:sldChg chg="delSp modSp mod">
        <pc:chgData name="Lechner, Pirmin (Allianz SE)" userId="4ff95c5a-ccbc-4dc8-af2b-255f1ed8d179" providerId="ADAL" clId="{11E97145-5754-41D1-8D57-41038BC05B65}" dt="2022-12-14T10:37:04.438" v="1306" actId="20577"/>
        <pc:sldMkLst>
          <pc:docMk/>
          <pc:sldMk cId="550394159" sldId="2147474848"/>
        </pc:sldMkLst>
        <pc:spChg chg="mod">
          <ac:chgData name="Lechner, Pirmin (Allianz SE)" userId="4ff95c5a-ccbc-4dc8-af2b-255f1ed8d179" providerId="ADAL" clId="{11E97145-5754-41D1-8D57-41038BC05B65}" dt="2022-12-14T08:43:19.235" v="111" actId="208"/>
          <ac:spMkLst>
            <pc:docMk/>
            <pc:sldMk cId="550394159" sldId="2147474848"/>
            <ac:spMk id="3" creationId="{E1AB640A-255F-481D-AEC9-511B2E2353C0}"/>
          </ac:spMkLst>
        </pc:spChg>
        <pc:spChg chg="del">
          <ac:chgData name="Lechner, Pirmin (Allianz SE)" userId="4ff95c5a-ccbc-4dc8-af2b-255f1ed8d179" providerId="ADAL" clId="{11E97145-5754-41D1-8D57-41038BC05B65}" dt="2022-12-14T08:43:24.362" v="112" actId="478"/>
          <ac:spMkLst>
            <pc:docMk/>
            <pc:sldMk cId="550394159" sldId="2147474848"/>
            <ac:spMk id="175" creationId="{2981E41A-E6B7-4D4A-BB17-E4F56E0472D4}"/>
          </ac:spMkLst>
        </pc:spChg>
        <pc:graphicFrameChg chg="modGraphic">
          <ac:chgData name="Lechner, Pirmin (Allianz SE)" userId="4ff95c5a-ccbc-4dc8-af2b-255f1ed8d179" providerId="ADAL" clId="{11E97145-5754-41D1-8D57-41038BC05B65}" dt="2022-12-14T10:37:04.438" v="1306" actId="20577"/>
          <ac:graphicFrameMkLst>
            <pc:docMk/>
            <pc:sldMk cId="550394159" sldId="2147474848"/>
            <ac:graphicFrameMk id="174" creationId="{CA35EC96-945C-4906-8E19-4A93B13F964F}"/>
          </ac:graphicFrameMkLst>
        </pc:graphicFrameChg>
      </pc:sldChg>
      <pc:sldChg chg="delSp modSp mod">
        <pc:chgData name="Lechner, Pirmin (Allianz SE)" userId="4ff95c5a-ccbc-4dc8-af2b-255f1ed8d179" providerId="ADAL" clId="{11E97145-5754-41D1-8D57-41038BC05B65}" dt="2022-12-14T09:34:33.057" v="884" actId="208"/>
        <pc:sldMkLst>
          <pc:docMk/>
          <pc:sldMk cId="4210549377" sldId="2147474850"/>
        </pc:sldMkLst>
        <pc:spChg chg="mod">
          <ac:chgData name="Lechner, Pirmin (Allianz SE)" userId="4ff95c5a-ccbc-4dc8-af2b-255f1ed8d179" providerId="ADAL" clId="{11E97145-5754-41D1-8D57-41038BC05B65}" dt="2022-12-14T09:34:33.057" v="884" actId="208"/>
          <ac:spMkLst>
            <pc:docMk/>
            <pc:sldMk cId="4210549377" sldId="2147474850"/>
            <ac:spMk id="242" creationId="{9695978A-7996-4E44-AD38-6960AA191895}"/>
          </ac:spMkLst>
        </pc:spChg>
        <pc:spChg chg="del">
          <ac:chgData name="Lechner, Pirmin (Allianz SE)" userId="4ff95c5a-ccbc-4dc8-af2b-255f1ed8d179" providerId="ADAL" clId="{11E97145-5754-41D1-8D57-41038BC05B65}" dt="2022-12-14T09:34:21.790" v="883" actId="478"/>
          <ac:spMkLst>
            <pc:docMk/>
            <pc:sldMk cId="4210549377" sldId="2147474850"/>
            <ac:spMk id="459" creationId="{7B077083-100F-4AAB-AB76-CFB308344046}"/>
          </ac:spMkLst>
        </pc:spChg>
      </pc:sldChg>
      <pc:sldChg chg="delSp modSp mod">
        <pc:chgData name="Lechner, Pirmin (Allianz SE)" userId="4ff95c5a-ccbc-4dc8-af2b-255f1ed8d179" providerId="ADAL" clId="{11E97145-5754-41D1-8D57-41038BC05B65}" dt="2022-12-14T08:45:08.385" v="122" actId="20577"/>
        <pc:sldMkLst>
          <pc:docMk/>
          <pc:sldMk cId="780318381" sldId="2147474851"/>
        </pc:sldMkLst>
        <pc:spChg chg="mod">
          <ac:chgData name="Lechner, Pirmin (Allianz SE)" userId="4ff95c5a-ccbc-4dc8-af2b-255f1ed8d179" providerId="ADAL" clId="{11E97145-5754-41D1-8D57-41038BC05B65}" dt="2022-12-14T08:44:43.681" v="117" actId="208"/>
          <ac:spMkLst>
            <pc:docMk/>
            <pc:sldMk cId="780318381" sldId="2147474851"/>
            <ac:spMk id="3" creationId="{E1AB640A-255F-481D-AEC9-511B2E2353C0}"/>
          </ac:spMkLst>
        </pc:spChg>
        <pc:spChg chg="del">
          <ac:chgData name="Lechner, Pirmin (Allianz SE)" userId="4ff95c5a-ccbc-4dc8-af2b-255f1ed8d179" providerId="ADAL" clId="{11E97145-5754-41D1-8D57-41038BC05B65}" dt="2022-12-14T08:44:59.948" v="120" actId="478"/>
          <ac:spMkLst>
            <pc:docMk/>
            <pc:sldMk cId="780318381" sldId="2147474851"/>
            <ac:spMk id="126" creationId="{D2A93015-3184-4EA7-A894-22C8DAA6E75B}"/>
          </ac:spMkLst>
        </pc:spChg>
        <pc:spChg chg="mod">
          <ac:chgData name="Lechner, Pirmin (Allianz SE)" userId="4ff95c5a-ccbc-4dc8-af2b-255f1ed8d179" providerId="ADAL" clId="{11E97145-5754-41D1-8D57-41038BC05B65}" dt="2022-12-14T08:44:32.399" v="116" actId="208"/>
          <ac:spMkLst>
            <pc:docMk/>
            <pc:sldMk cId="780318381" sldId="2147474851"/>
            <ac:spMk id="235" creationId="{D59C25F4-C80A-4A78-BA43-1FA35BB7A954}"/>
          </ac:spMkLst>
        </pc:spChg>
        <pc:spChg chg="mod">
          <ac:chgData name="Lechner, Pirmin (Allianz SE)" userId="4ff95c5a-ccbc-4dc8-af2b-255f1ed8d179" providerId="ADAL" clId="{11E97145-5754-41D1-8D57-41038BC05B65}" dt="2022-12-14T08:44:26.164" v="115" actId="207"/>
          <ac:spMkLst>
            <pc:docMk/>
            <pc:sldMk cId="780318381" sldId="2147474851"/>
            <ac:spMk id="236" creationId="{6FE8D16B-BF19-4B77-8370-FDE007A5D63E}"/>
          </ac:spMkLst>
        </pc:spChg>
        <pc:spChg chg="mod">
          <ac:chgData name="Lechner, Pirmin (Allianz SE)" userId="4ff95c5a-ccbc-4dc8-af2b-255f1ed8d179" providerId="ADAL" clId="{11E97145-5754-41D1-8D57-41038BC05B65}" dt="2022-12-14T08:44:54.896" v="119" actId="208"/>
          <ac:spMkLst>
            <pc:docMk/>
            <pc:sldMk cId="780318381" sldId="2147474851"/>
            <ac:spMk id="306" creationId="{F595FCA6-BE93-4994-9598-A0E94B61B56F}"/>
          </ac:spMkLst>
        </pc:spChg>
        <pc:spChg chg="mod">
          <ac:chgData name="Lechner, Pirmin (Allianz SE)" userId="4ff95c5a-ccbc-4dc8-af2b-255f1ed8d179" providerId="ADAL" clId="{11E97145-5754-41D1-8D57-41038BC05B65}" dt="2022-12-14T08:44:48.341" v="118" actId="208"/>
          <ac:spMkLst>
            <pc:docMk/>
            <pc:sldMk cId="780318381" sldId="2147474851"/>
            <ac:spMk id="307" creationId="{45EF1862-F5AF-4045-8AB9-97C3A28A4ADE}"/>
          </ac:spMkLst>
        </pc:spChg>
        <pc:graphicFrameChg chg="modGraphic">
          <ac:chgData name="Lechner, Pirmin (Allianz SE)" userId="4ff95c5a-ccbc-4dc8-af2b-255f1ed8d179" providerId="ADAL" clId="{11E97145-5754-41D1-8D57-41038BC05B65}" dt="2022-12-14T08:45:08.385" v="122" actId="20577"/>
          <ac:graphicFrameMkLst>
            <pc:docMk/>
            <pc:sldMk cId="780318381" sldId="2147474851"/>
            <ac:graphicFrameMk id="258" creationId="{D3FDEBFA-818A-B4E7-FDBD-22BC4994CBFA}"/>
          </ac:graphicFrameMkLst>
        </pc:graphicFrameChg>
      </pc:sldChg>
      <pc:sldChg chg="modSp mod">
        <pc:chgData name="Lechner, Pirmin (Allianz SE)" userId="4ff95c5a-ccbc-4dc8-af2b-255f1ed8d179" providerId="ADAL" clId="{11E97145-5754-41D1-8D57-41038BC05B65}" dt="2022-12-14T10:40:25.529" v="1326" actId="20577"/>
        <pc:sldMkLst>
          <pc:docMk/>
          <pc:sldMk cId="855868122" sldId="2147474858"/>
        </pc:sldMkLst>
        <pc:spChg chg="mod">
          <ac:chgData name="Lechner, Pirmin (Allianz SE)" userId="4ff95c5a-ccbc-4dc8-af2b-255f1ed8d179" providerId="ADAL" clId="{11E97145-5754-41D1-8D57-41038BC05B65}" dt="2022-12-14T10:05:44.802" v="1052" actId="20577"/>
          <ac:spMkLst>
            <pc:docMk/>
            <pc:sldMk cId="855868122" sldId="2147474858"/>
            <ac:spMk id="3" creationId="{DE6CC9F4-942C-464A-A710-3353555563EA}"/>
          </ac:spMkLst>
        </pc:spChg>
        <pc:spChg chg="mod">
          <ac:chgData name="Lechner, Pirmin (Allianz SE)" userId="4ff95c5a-ccbc-4dc8-af2b-255f1ed8d179" providerId="ADAL" clId="{11E97145-5754-41D1-8D57-41038BC05B65}" dt="2022-12-14T10:40:25.529" v="1326" actId="20577"/>
          <ac:spMkLst>
            <pc:docMk/>
            <pc:sldMk cId="855868122" sldId="2147474858"/>
            <ac:spMk id="4" creationId="{571DA361-F295-4A02-AACD-9F33E2E1298F}"/>
          </ac:spMkLst>
        </pc:spChg>
        <pc:graphicFrameChg chg="mod modGraphic">
          <ac:chgData name="Lechner, Pirmin (Allianz SE)" userId="4ff95c5a-ccbc-4dc8-af2b-255f1ed8d179" providerId="ADAL" clId="{11E97145-5754-41D1-8D57-41038BC05B65}" dt="2022-12-14T10:21:09.647" v="1165" actId="1076"/>
          <ac:graphicFrameMkLst>
            <pc:docMk/>
            <pc:sldMk cId="855868122" sldId="2147474858"/>
            <ac:graphicFrameMk id="5" creationId="{3877C3CE-934F-4705-8FDF-61188B09469C}"/>
          </ac:graphicFrameMkLst>
        </pc:graphicFrameChg>
      </pc:sldChg>
      <pc:sldChg chg="modSp mod">
        <pc:chgData name="Lechner, Pirmin (Allianz SE)" userId="4ff95c5a-ccbc-4dc8-af2b-255f1ed8d179" providerId="ADAL" clId="{11E97145-5754-41D1-8D57-41038BC05B65}" dt="2022-12-14T13:42:00.174" v="1873" actId="1036"/>
        <pc:sldMkLst>
          <pc:docMk/>
          <pc:sldMk cId="350399327" sldId="2147474859"/>
        </pc:sldMkLst>
        <pc:spChg chg="mod">
          <ac:chgData name="Lechner, Pirmin (Allianz SE)" userId="4ff95c5a-ccbc-4dc8-af2b-255f1ed8d179" providerId="ADAL" clId="{11E97145-5754-41D1-8D57-41038BC05B65}" dt="2022-12-14T10:17:29.242" v="1124" actId="20577"/>
          <ac:spMkLst>
            <pc:docMk/>
            <pc:sldMk cId="350399327" sldId="2147474859"/>
            <ac:spMk id="3" creationId="{25E6BA69-C23D-43F2-9E3F-61617D63A104}"/>
          </ac:spMkLst>
        </pc:spChg>
        <pc:spChg chg="mod">
          <ac:chgData name="Lechner, Pirmin (Allianz SE)" userId="4ff95c5a-ccbc-4dc8-af2b-255f1ed8d179" providerId="ADAL" clId="{11E97145-5754-41D1-8D57-41038BC05B65}" dt="2022-12-14T10:19:00.805" v="1128" actId="20577"/>
          <ac:spMkLst>
            <pc:docMk/>
            <pc:sldMk cId="350399327" sldId="2147474859"/>
            <ac:spMk id="4" creationId="{1826F763-6700-4515-AB67-EBB18B9F62E3}"/>
          </ac:spMkLst>
        </pc:spChg>
        <pc:spChg chg="mod">
          <ac:chgData name="Lechner, Pirmin (Allianz SE)" userId="4ff95c5a-ccbc-4dc8-af2b-255f1ed8d179" providerId="ADAL" clId="{11E97145-5754-41D1-8D57-41038BC05B65}" dt="2022-12-14T13:42:00.174" v="1873" actId="1036"/>
          <ac:spMkLst>
            <pc:docMk/>
            <pc:sldMk cId="350399327" sldId="2147474859"/>
            <ac:spMk id="5" creationId="{B484F979-949B-663D-5F98-D29472D69F1B}"/>
          </ac:spMkLst>
        </pc:spChg>
        <pc:spChg chg="mod">
          <ac:chgData name="Lechner, Pirmin (Allianz SE)" userId="4ff95c5a-ccbc-4dc8-af2b-255f1ed8d179" providerId="ADAL" clId="{11E97145-5754-41D1-8D57-41038BC05B65}" dt="2022-12-14T13:42:00.174" v="1873" actId="1036"/>
          <ac:spMkLst>
            <pc:docMk/>
            <pc:sldMk cId="350399327" sldId="2147474859"/>
            <ac:spMk id="6" creationId="{D6405ED1-221A-6F42-683B-00CC7D3E2C20}"/>
          </ac:spMkLst>
        </pc:spChg>
      </pc:sldChg>
      <pc:sldChg chg="addSp delSp modSp mod">
        <pc:chgData name="Lechner, Pirmin (Allianz SE)" userId="4ff95c5a-ccbc-4dc8-af2b-255f1ed8d179" providerId="ADAL" clId="{11E97145-5754-41D1-8D57-41038BC05B65}" dt="2022-12-14T09:39:15.389" v="908" actId="478"/>
        <pc:sldMkLst>
          <pc:docMk/>
          <pc:sldMk cId="3080553895" sldId="2147474861"/>
        </pc:sldMkLst>
        <pc:spChg chg="mod">
          <ac:chgData name="Lechner, Pirmin (Allianz SE)" userId="4ff95c5a-ccbc-4dc8-af2b-255f1ed8d179" providerId="ADAL" clId="{11E97145-5754-41D1-8D57-41038BC05B65}" dt="2022-12-14T08:56:28.103" v="258" actId="20577"/>
          <ac:spMkLst>
            <pc:docMk/>
            <pc:sldMk cId="3080553895" sldId="2147474861"/>
            <ac:spMk id="3" creationId="{79D18386-D41B-4EDC-AD50-873AFB55DAA8}"/>
          </ac:spMkLst>
        </pc:spChg>
        <pc:graphicFrameChg chg="add del mod modGraphic">
          <ac:chgData name="Lechner, Pirmin (Allianz SE)" userId="4ff95c5a-ccbc-4dc8-af2b-255f1ed8d179" providerId="ADAL" clId="{11E97145-5754-41D1-8D57-41038BC05B65}" dt="2022-12-14T09:39:15.389" v="908" actId="478"/>
          <ac:graphicFrameMkLst>
            <pc:docMk/>
            <pc:sldMk cId="3080553895" sldId="2147474861"/>
            <ac:graphicFrameMk id="5" creationId="{15404300-A696-44DB-BB28-2A95BE4E2ABD}"/>
          </ac:graphicFrameMkLst>
        </pc:graphicFrameChg>
      </pc:sldChg>
      <pc:sldChg chg="addSp modSp mod">
        <pc:chgData name="Lechner, Pirmin (Allianz SE)" userId="4ff95c5a-ccbc-4dc8-af2b-255f1ed8d179" providerId="ADAL" clId="{11E97145-5754-41D1-8D57-41038BC05B65}" dt="2022-12-14T10:42:12.547" v="1435" actId="1076"/>
        <pc:sldMkLst>
          <pc:docMk/>
          <pc:sldMk cId="2704156487" sldId="2147474863"/>
        </pc:sldMkLst>
        <pc:spChg chg="mod">
          <ac:chgData name="Lechner, Pirmin (Allianz SE)" userId="4ff95c5a-ccbc-4dc8-af2b-255f1ed8d179" providerId="ADAL" clId="{11E97145-5754-41D1-8D57-41038BC05B65}" dt="2022-12-14T10:23:00.256" v="1173" actId="108"/>
          <ac:spMkLst>
            <pc:docMk/>
            <pc:sldMk cId="2704156487" sldId="2147474863"/>
            <ac:spMk id="3" creationId="{21257603-DCD1-7CD1-FDA0-5EFC1D66729E}"/>
          </ac:spMkLst>
        </pc:spChg>
        <pc:spChg chg="mod">
          <ac:chgData name="Lechner, Pirmin (Allianz SE)" userId="4ff95c5a-ccbc-4dc8-af2b-255f1ed8d179" providerId="ADAL" clId="{11E97145-5754-41D1-8D57-41038BC05B65}" dt="2022-12-14T10:26:22.699" v="1198" actId="207"/>
          <ac:spMkLst>
            <pc:docMk/>
            <pc:sldMk cId="2704156487" sldId="2147474863"/>
            <ac:spMk id="4" creationId="{F1198C50-2AD8-D98E-61BE-C03E08C11001}"/>
          </ac:spMkLst>
        </pc:spChg>
        <pc:spChg chg="add mod">
          <ac:chgData name="Lechner, Pirmin (Allianz SE)" userId="4ff95c5a-ccbc-4dc8-af2b-255f1ed8d179" providerId="ADAL" clId="{11E97145-5754-41D1-8D57-41038BC05B65}" dt="2022-12-14T10:42:12.547" v="1435" actId="1076"/>
          <ac:spMkLst>
            <pc:docMk/>
            <pc:sldMk cId="2704156487" sldId="2147474863"/>
            <ac:spMk id="5" creationId="{EEC06ED8-5030-4A33-BDBD-1D466FFE5188}"/>
          </ac:spMkLst>
        </pc:spChg>
      </pc:sldChg>
      <pc:sldChg chg="modSp mod">
        <pc:chgData name="Lechner, Pirmin (Allianz SE)" userId="4ff95c5a-ccbc-4dc8-af2b-255f1ed8d179" providerId="ADAL" clId="{11E97145-5754-41D1-8D57-41038BC05B65}" dt="2022-12-14T10:33:44.881" v="1271" actId="20577"/>
        <pc:sldMkLst>
          <pc:docMk/>
          <pc:sldMk cId="2535056560" sldId="2147474866"/>
        </pc:sldMkLst>
        <pc:graphicFrameChg chg="mod modGraphic">
          <ac:chgData name="Lechner, Pirmin (Allianz SE)" userId="4ff95c5a-ccbc-4dc8-af2b-255f1ed8d179" providerId="ADAL" clId="{11E97145-5754-41D1-8D57-41038BC05B65}" dt="2022-12-14T10:33:28.762" v="1269" actId="20577"/>
          <ac:graphicFrameMkLst>
            <pc:docMk/>
            <pc:sldMk cId="2535056560" sldId="2147474866"/>
            <ac:graphicFrameMk id="2" creationId="{10DA3126-5AE2-4556-82F1-84DB3B02E3AD}"/>
          </ac:graphicFrameMkLst>
        </pc:graphicFrameChg>
        <pc:graphicFrameChg chg="modGraphic">
          <ac:chgData name="Lechner, Pirmin (Allianz SE)" userId="4ff95c5a-ccbc-4dc8-af2b-255f1ed8d179" providerId="ADAL" clId="{11E97145-5754-41D1-8D57-41038BC05B65}" dt="2022-12-14T10:33:44.881" v="1271" actId="20577"/>
          <ac:graphicFrameMkLst>
            <pc:docMk/>
            <pc:sldMk cId="2535056560" sldId="2147474866"/>
            <ac:graphicFrameMk id="8" creationId="{41F609CE-E04B-B401-5EE3-E68005C562B7}"/>
          </ac:graphicFrameMkLst>
        </pc:graphicFrameChg>
      </pc:sldChg>
      <pc:sldChg chg="modSp mod">
        <pc:chgData name="Lechner, Pirmin (Allianz SE)" userId="4ff95c5a-ccbc-4dc8-af2b-255f1ed8d179" providerId="ADAL" clId="{11E97145-5754-41D1-8D57-41038BC05B65}" dt="2022-12-14T09:48:14.345" v="1034" actId="20577"/>
        <pc:sldMkLst>
          <pc:docMk/>
          <pc:sldMk cId="1663520743" sldId="2147474868"/>
        </pc:sldMkLst>
        <pc:spChg chg="mod">
          <ac:chgData name="Lechner, Pirmin (Allianz SE)" userId="4ff95c5a-ccbc-4dc8-af2b-255f1ed8d179" providerId="ADAL" clId="{11E97145-5754-41D1-8D57-41038BC05B65}" dt="2022-12-14T09:47:50.973" v="997" actId="20577"/>
          <ac:spMkLst>
            <pc:docMk/>
            <pc:sldMk cId="1663520743" sldId="2147474868"/>
            <ac:spMk id="3" creationId="{95A1E838-51DB-443A-BA89-E89FABD709BD}"/>
          </ac:spMkLst>
        </pc:spChg>
        <pc:spChg chg="mod">
          <ac:chgData name="Lechner, Pirmin (Allianz SE)" userId="4ff95c5a-ccbc-4dc8-af2b-255f1ed8d179" providerId="ADAL" clId="{11E97145-5754-41D1-8D57-41038BC05B65}" dt="2022-12-14T09:48:14.345" v="1034" actId="20577"/>
          <ac:spMkLst>
            <pc:docMk/>
            <pc:sldMk cId="1663520743" sldId="2147474868"/>
            <ac:spMk id="22" creationId="{70D8B6B7-CF32-4090-AD71-DEDBBB0BEADE}"/>
          </ac:spMkLst>
        </pc:spChg>
      </pc:sldChg>
      <pc:sldChg chg="addSp modSp mod">
        <pc:chgData name="Lechner, Pirmin (Allianz SE)" userId="4ff95c5a-ccbc-4dc8-af2b-255f1ed8d179" providerId="ADAL" clId="{11E97145-5754-41D1-8D57-41038BC05B65}" dt="2022-12-14T10:34:32.131" v="1287"/>
        <pc:sldMkLst>
          <pc:docMk/>
          <pc:sldMk cId="2395899290" sldId="2147474869"/>
        </pc:sldMkLst>
        <pc:spChg chg="add mod">
          <ac:chgData name="Lechner, Pirmin (Allianz SE)" userId="4ff95c5a-ccbc-4dc8-af2b-255f1ed8d179" providerId="ADAL" clId="{11E97145-5754-41D1-8D57-41038BC05B65}" dt="2022-12-14T10:29:35.614" v="1219" actId="20577"/>
          <ac:spMkLst>
            <pc:docMk/>
            <pc:sldMk cId="2395899290" sldId="2147474869"/>
            <ac:spMk id="7" creationId="{CA8F1224-266D-4905-86BF-993C1E8F9C8D}"/>
          </ac:spMkLst>
        </pc:spChg>
        <pc:spChg chg="add mod">
          <ac:chgData name="Lechner, Pirmin (Allianz SE)" userId="4ff95c5a-ccbc-4dc8-af2b-255f1ed8d179" providerId="ADAL" clId="{11E97145-5754-41D1-8D57-41038BC05B65}" dt="2022-12-14T10:32:32.561" v="1245" actId="20577"/>
          <ac:spMkLst>
            <pc:docMk/>
            <pc:sldMk cId="2395899290" sldId="2147474869"/>
            <ac:spMk id="9" creationId="{65F421E1-65C9-4333-97E9-FA881561B2A3}"/>
          </ac:spMkLst>
        </pc:spChg>
        <pc:spChg chg="add mod">
          <ac:chgData name="Lechner, Pirmin (Allianz SE)" userId="4ff95c5a-ccbc-4dc8-af2b-255f1ed8d179" providerId="ADAL" clId="{11E97145-5754-41D1-8D57-41038BC05B65}" dt="2022-12-14T10:34:32.131" v="1287"/>
          <ac:spMkLst>
            <pc:docMk/>
            <pc:sldMk cId="2395899290" sldId="2147474869"/>
            <ac:spMk id="13" creationId="{748029E1-DA72-491D-9500-94643901210A}"/>
          </ac:spMkLst>
        </pc:spChg>
        <pc:graphicFrameChg chg="mod modGraphic">
          <ac:chgData name="Lechner, Pirmin (Allianz SE)" userId="4ff95c5a-ccbc-4dc8-af2b-255f1ed8d179" providerId="ADAL" clId="{11E97145-5754-41D1-8D57-41038BC05B65}" dt="2022-12-14T08:53:04.652" v="245" actId="1076"/>
          <ac:graphicFrameMkLst>
            <pc:docMk/>
            <pc:sldMk cId="2395899290" sldId="2147474869"/>
            <ac:graphicFrameMk id="8" creationId="{41F609CE-E04B-B401-5EE3-E68005C562B7}"/>
          </ac:graphicFrameMkLst>
        </pc:graphicFrameChg>
        <pc:graphicFrameChg chg="mod modGraphic">
          <ac:chgData name="Lechner, Pirmin (Allianz SE)" userId="4ff95c5a-ccbc-4dc8-af2b-255f1ed8d179" providerId="ADAL" clId="{11E97145-5754-41D1-8D57-41038BC05B65}" dt="2022-12-14T09:09:39.781" v="485"/>
          <ac:graphicFrameMkLst>
            <pc:docMk/>
            <pc:sldMk cId="2395899290" sldId="2147474869"/>
            <ac:graphicFrameMk id="12" creationId="{E059C946-3976-955B-31BA-5DD01A6FC636}"/>
          </ac:graphicFrameMkLst>
        </pc:graphicFrameChg>
      </pc:sldChg>
      <pc:sldChg chg="ord">
        <pc:chgData name="Lechner, Pirmin (Allianz SE)" userId="4ff95c5a-ccbc-4dc8-af2b-255f1ed8d179" providerId="ADAL" clId="{11E97145-5754-41D1-8D57-41038BC05B65}" dt="2022-12-14T09:46:15.387" v="912"/>
        <pc:sldMkLst>
          <pc:docMk/>
          <pc:sldMk cId="1531466322" sldId="2147474878"/>
        </pc:sldMkLst>
      </pc:sldChg>
      <pc:sldChg chg="ord">
        <pc:chgData name="Lechner, Pirmin (Allianz SE)" userId="4ff95c5a-ccbc-4dc8-af2b-255f1ed8d179" providerId="ADAL" clId="{11E97145-5754-41D1-8D57-41038BC05B65}" dt="2022-12-14T09:46:15.387" v="912"/>
        <pc:sldMkLst>
          <pc:docMk/>
          <pc:sldMk cId="3694427098" sldId="2147474879"/>
        </pc:sldMkLst>
      </pc:sldChg>
      <pc:sldChg chg="delSp modSp mod">
        <pc:chgData name="Lechner, Pirmin (Allianz SE)" userId="4ff95c5a-ccbc-4dc8-af2b-255f1ed8d179" providerId="ADAL" clId="{11E97145-5754-41D1-8D57-41038BC05B65}" dt="2022-12-14T13:41:27.081" v="1852" actId="20577"/>
        <pc:sldMkLst>
          <pc:docMk/>
          <pc:sldMk cId="1727248298" sldId="2147474881"/>
        </pc:sldMkLst>
        <pc:spChg chg="mod">
          <ac:chgData name="Lechner, Pirmin (Allianz SE)" userId="4ff95c5a-ccbc-4dc8-af2b-255f1ed8d179" providerId="ADAL" clId="{11E97145-5754-41D1-8D57-41038BC05B65}" dt="2022-12-14T13:41:27.081" v="1852" actId="20577"/>
          <ac:spMkLst>
            <pc:docMk/>
            <pc:sldMk cId="1727248298" sldId="2147474881"/>
            <ac:spMk id="4" creationId="{1826F763-6700-4515-AB67-EBB18B9F62E3}"/>
          </ac:spMkLst>
        </pc:spChg>
        <pc:spChg chg="del">
          <ac:chgData name="Lechner, Pirmin (Allianz SE)" userId="4ff95c5a-ccbc-4dc8-af2b-255f1ed8d179" providerId="ADAL" clId="{11E97145-5754-41D1-8D57-41038BC05B65}" dt="2022-12-14T13:26:01.092" v="1468" actId="478"/>
          <ac:spMkLst>
            <pc:docMk/>
            <pc:sldMk cId="1727248298" sldId="2147474881"/>
            <ac:spMk id="5" creationId="{B484F979-949B-663D-5F98-D29472D69F1B}"/>
          </ac:spMkLst>
        </pc:spChg>
        <pc:spChg chg="del mod">
          <ac:chgData name="Lechner, Pirmin (Allianz SE)" userId="4ff95c5a-ccbc-4dc8-af2b-255f1ed8d179" providerId="ADAL" clId="{11E97145-5754-41D1-8D57-41038BC05B65}" dt="2022-12-14T13:26:01.094" v="1470"/>
          <ac:spMkLst>
            <pc:docMk/>
            <pc:sldMk cId="1727248298" sldId="2147474881"/>
            <ac:spMk id="6" creationId="{D6405ED1-221A-6F42-683B-00CC7D3E2C20}"/>
          </ac:spMkLst>
        </pc:spChg>
      </pc:sldChg>
      <pc:sldChg chg="del">
        <pc:chgData name="Lechner, Pirmin (Allianz SE)" userId="4ff95c5a-ccbc-4dc8-af2b-255f1ed8d179" providerId="ADAL" clId="{11E97145-5754-41D1-8D57-41038BC05B65}" dt="2022-12-14T13:24:43.011" v="1465" actId="47"/>
        <pc:sldMkLst>
          <pc:docMk/>
          <pc:sldMk cId="1224225509" sldId="2147474882"/>
        </pc:sldMkLst>
      </pc:sldChg>
      <pc:sldChg chg="addSp delSp modSp new mod">
        <pc:chgData name="Lechner, Pirmin (Allianz SE)" userId="4ff95c5a-ccbc-4dc8-af2b-255f1ed8d179" providerId="ADAL" clId="{11E97145-5754-41D1-8D57-41038BC05B65}" dt="2022-12-14T13:23:30.124" v="1441" actId="1076"/>
        <pc:sldMkLst>
          <pc:docMk/>
          <pc:sldMk cId="3181318554" sldId="2147474882"/>
        </pc:sldMkLst>
        <pc:spChg chg="del">
          <ac:chgData name="Lechner, Pirmin (Allianz SE)" userId="4ff95c5a-ccbc-4dc8-af2b-255f1ed8d179" providerId="ADAL" clId="{11E97145-5754-41D1-8D57-41038BC05B65}" dt="2022-12-14T13:23:13.638" v="1437"/>
          <ac:spMkLst>
            <pc:docMk/>
            <pc:sldMk cId="3181318554" sldId="2147474882"/>
            <ac:spMk id="4" creationId="{196C0FB3-4702-43A0-BA7A-B641E8842868}"/>
          </ac:spMkLst>
        </pc:spChg>
        <pc:picChg chg="add mod">
          <ac:chgData name="Lechner, Pirmin (Allianz SE)" userId="4ff95c5a-ccbc-4dc8-af2b-255f1ed8d179" providerId="ADAL" clId="{11E97145-5754-41D1-8D57-41038BC05B65}" dt="2022-12-14T13:23:30.124" v="1441" actId="1076"/>
          <ac:picMkLst>
            <pc:docMk/>
            <pc:sldMk cId="3181318554" sldId="2147474882"/>
            <ac:picMk id="5" creationId="{0F113D83-DDA9-43ED-A692-F910ECB138EA}"/>
          </ac:picMkLst>
        </pc:picChg>
      </pc:sldChg>
      <pc:sldChg chg="modSp mod">
        <pc:chgData name="Lechner, Pirmin (Allianz SE)" userId="4ff95c5a-ccbc-4dc8-af2b-255f1ed8d179" providerId="ADAL" clId="{11E97145-5754-41D1-8D57-41038BC05B65}" dt="2022-12-14T13:24:36.748" v="1464" actId="20577"/>
        <pc:sldMkLst>
          <pc:docMk/>
          <pc:sldMk cId="3181318554" sldId="2147474883"/>
        </pc:sldMkLst>
        <pc:spChg chg="mod">
          <ac:chgData name="Lechner, Pirmin (Allianz SE)" userId="4ff95c5a-ccbc-4dc8-af2b-255f1ed8d179" providerId="ADAL" clId="{11E97145-5754-41D1-8D57-41038BC05B65}" dt="2022-12-14T13:24:36.748" v="1464" actId="20577"/>
          <ac:spMkLst>
            <pc:docMk/>
            <pc:sldMk cId="3181318554" sldId="2147474883"/>
            <ac:spMk id="3" creationId="{0EC1C8A5-0F5A-42FC-A9C4-F8A14D3C8D4B}"/>
          </ac:spMkLst>
        </pc:spChg>
      </pc:sldChg>
    </pc:docChg>
  </pc:docChgLst>
  <pc:docChgLst>
    <pc:chgData name="Karanth, Suhas (Allianz SE)" userId="80e062e1-fdb8-46de-bee5-a3166786e341" providerId="ADAL" clId="{361A56D1-2B90-4FC3-A936-DAD77D68E8CE}"/>
    <pc:docChg chg="undo redo custSel addSld delSld modSld sldOrd">
      <pc:chgData name="Karanth, Suhas (Allianz SE)" userId="80e062e1-fdb8-46de-bee5-a3166786e341" providerId="ADAL" clId="{361A56D1-2B90-4FC3-A936-DAD77D68E8CE}" dt="2023-01-19T09:12:14.574" v="1373" actId="1037"/>
      <pc:docMkLst>
        <pc:docMk/>
      </pc:docMkLst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3961267969" sldId="260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3775803684" sldId="264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2594654958" sldId="265"/>
        </pc:sldMkLst>
      </pc:sldChg>
      <pc:sldChg chg="modSp mod 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202545387" sldId="315"/>
        </pc:sldMkLst>
        <pc:spChg chg="mod">
          <ac:chgData name="Karanth, Suhas (Allianz SE)" userId="80e062e1-fdb8-46de-bee5-a3166786e341" providerId="ADAL" clId="{361A56D1-2B90-4FC3-A936-DAD77D68E8CE}" dt="2022-12-14T12:54:36.614" v="1194" actId="20577"/>
          <ac:spMkLst>
            <pc:docMk/>
            <pc:sldMk cId="202545387" sldId="315"/>
            <ac:spMk id="6" creationId="{F4A817E4-52F2-465E-B6BF-E8C669B80413}"/>
          </ac:spMkLst>
        </pc:spChg>
        <pc:spChg chg="mod">
          <ac:chgData name="Karanth, Suhas (Allianz SE)" userId="80e062e1-fdb8-46de-bee5-a3166786e341" providerId="ADAL" clId="{361A56D1-2B90-4FC3-A936-DAD77D68E8CE}" dt="2022-12-14T12:55:15.900" v="1220" actId="20577"/>
          <ac:spMkLst>
            <pc:docMk/>
            <pc:sldMk cId="202545387" sldId="315"/>
            <ac:spMk id="7" creationId="{48C1550A-2F41-4FBE-AB88-F739E650F224}"/>
          </ac:spMkLst>
        </pc:spChg>
      </pc:sldChg>
      <pc:sldChg chg="addSp delSp modSp mod 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2615612162" sldId="320"/>
        </pc:sldMkLst>
        <pc:spChg chg="mod topLvl">
          <ac:chgData name="Karanth, Suhas (Allianz SE)" userId="80e062e1-fdb8-46de-bee5-a3166786e341" providerId="ADAL" clId="{361A56D1-2B90-4FC3-A936-DAD77D68E8CE}" dt="2022-12-13T13:20:19.389" v="342" actId="14100"/>
          <ac:spMkLst>
            <pc:docMk/>
            <pc:sldMk cId="2615612162" sldId="320"/>
            <ac:spMk id="2" creationId="{D5C4F1D7-EDF3-9555-1C77-100156AF5DD2}"/>
          </ac:spMkLst>
        </pc:spChg>
        <pc:spChg chg="mod">
          <ac:chgData name="Karanth, Suhas (Allianz SE)" userId="80e062e1-fdb8-46de-bee5-a3166786e341" providerId="ADAL" clId="{361A56D1-2B90-4FC3-A936-DAD77D68E8CE}" dt="2022-12-13T13:25:23.635" v="421" actId="20577"/>
          <ac:spMkLst>
            <pc:docMk/>
            <pc:sldMk cId="2615612162" sldId="320"/>
            <ac:spMk id="6" creationId="{F4A817E4-52F2-465E-B6BF-E8C669B80413}"/>
          </ac:spMkLst>
        </pc:spChg>
        <pc:spChg chg="mod">
          <ac:chgData name="Karanth, Suhas (Allianz SE)" userId="80e062e1-fdb8-46de-bee5-a3166786e341" providerId="ADAL" clId="{361A56D1-2B90-4FC3-A936-DAD77D68E8CE}" dt="2022-12-13T13:20:00.103" v="338" actId="165"/>
          <ac:spMkLst>
            <pc:docMk/>
            <pc:sldMk cId="2615612162" sldId="320"/>
            <ac:spMk id="10" creationId="{F04A5816-2705-794B-3B09-FFA2353138E0}"/>
          </ac:spMkLst>
        </pc:spChg>
        <pc:spChg chg="mod">
          <ac:chgData name="Karanth, Suhas (Allianz SE)" userId="80e062e1-fdb8-46de-bee5-a3166786e341" providerId="ADAL" clId="{361A56D1-2B90-4FC3-A936-DAD77D68E8CE}" dt="2022-12-13T13:20:00.103" v="338" actId="165"/>
          <ac:spMkLst>
            <pc:docMk/>
            <pc:sldMk cId="2615612162" sldId="320"/>
            <ac:spMk id="11" creationId="{7C3B1351-8A1B-5F02-C56E-2E63A57A6350}"/>
          </ac:spMkLst>
        </pc:spChg>
        <pc:spChg chg="mod">
          <ac:chgData name="Karanth, Suhas (Allianz SE)" userId="80e062e1-fdb8-46de-bee5-a3166786e341" providerId="ADAL" clId="{361A56D1-2B90-4FC3-A936-DAD77D68E8CE}" dt="2022-12-13T13:20:00.103" v="338" actId="165"/>
          <ac:spMkLst>
            <pc:docMk/>
            <pc:sldMk cId="2615612162" sldId="320"/>
            <ac:spMk id="12" creationId="{E4201644-1E56-F4F6-4BBE-F4B365687DC4}"/>
          </ac:spMkLst>
        </pc:spChg>
        <pc:spChg chg="mod">
          <ac:chgData name="Karanth, Suhas (Allianz SE)" userId="80e062e1-fdb8-46de-bee5-a3166786e341" providerId="ADAL" clId="{361A56D1-2B90-4FC3-A936-DAD77D68E8CE}" dt="2022-12-13T13:20:04.308" v="339" actId="165"/>
          <ac:spMkLst>
            <pc:docMk/>
            <pc:sldMk cId="2615612162" sldId="320"/>
            <ac:spMk id="15" creationId="{2959D9DD-BC89-B828-6442-0E91700800B4}"/>
          </ac:spMkLst>
        </pc:spChg>
        <pc:spChg chg="mod">
          <ac:chgData name="Karanth, Suhas (Allianz SE)" userId="80e062e1-fdb8-46de-bee5-a3166786e341" providerId="ADAL" clId="{361A56D1-2B90-4FC3-A936-DAD77D68E8CE}" dt="2022-12-13T13:20:04.308" v="339" actId="165"/>
          <ac:spMkLst>
            <pc:docMk/>
            <pc:sldMk cId="2615612162" sldId="320"/>
            <ac:spMk id="16" creationId="{DE470631-6957-2A00-5F32-D58B2045E766}"/>
          </ac:spMkLst>
        </pc:spChg>
        <pc:spChg chg="mod">
          <ac:chgData name="Karanth, Suhas (Allianz SE)" userId="80e062e1-fdb8-46de-bee5-a3166786e341" providerId="ADAL" clId="{361A56D1-2B90-4FC3-A936-DAD77D68E8CE}" dt="2022-12-13T13:20:04.308" v="339" actId="165"/>
          <ac:spMkLst>
            <pc:docMk/>
            <pc:sldMk cId="2615612162" sldId="320"/>
            <ac:spMk id="17" creationId="{1D762B4F-9E1B-05B0-A4A8-B6FD03AB10A7}"/>
          </ac:spMkLst>
        </pc:spChg>
        <pc:spChg chg="mod">
          <ac:chgData name="Karanth, Suhas (Allianz SE)" userId="80e062e1-fdb8-46de-bee5-a3166786e341" providerId="ADAL" clId="{361A56D1-2B90-4FC3-A936-DAD77D68E8CE}" dt="2022-12-13T13:20:06.995" v="340" actId="165"/>
          <ac:spMkLst>
            <pc:docMk/>
            <pc:sldMk cId="2615612162" sldId="320"/>
            <ac:spMk id="20" creationId="{CA48802E-76E4-70A5-3164-889D6FC8DED8}"/>
          </ac:spMkLst>
        </pc:spChg>
        <pc:spChg chg="mod">
          <ac:chgData name="Karanth, Suhas (Allianz SE)" userId="80e062e1-fdb8-46de-bee5-a3166786e341" providerId="ADAL" clId="{361A56D1-2B90-4FC3-A936-DAD77D68E8CE}" dt="2022-12-13T13:20:06.995" v="340" actId="165"/>
          <ac:spMkLst>
            <pc:docMk/>
            <pc:sldMk cId="2615612162" sldId="320"/>
            <ac:spMk id="21" creationId="{BDADC983-ED0F-5CEC-0700-E88D302FC8C2}"/>
          </ac:spMkLst>
        </pc:spChg>
        <pc:spChg chg="mod">
          <ac:chgData name="Karanth, Suhas (Allianz SE)" userId="80e062e1-fdb8-46de-bee5-a3166786e341" providerId="ADAL" clId="{361A56D1-2B90-4FC3-A936-DAD77D68E8CE}" dt="2022-12-13T13:20:06.995" v="340" actId="165"/>
          <ac:spMkLst>
            <pc:docMk/>
            <pc:sldMk cId="2615612162" sldId="320"/>
            <ac:spMk id="22" creationId="{6044C89B-173D-F37F-4608-A6A639525569}"/>
          </ac:spMkLst>
        </pc:spChg>
        <pc:spChg chg="mod">
          <ac:chgData name="Karanth, Suhas (Allianz SE)" userId="80e062e1-fdb8-46de-bee5-a3166786e341" providerId="ADAL" clId="{361A56D1-2B90-4FC3-A936-DAD77D68E8CE}" dt="2022-12-13T13:20:09.397" v="341" actId="165"/>
          <ac:spMkLst>
            <pc:docMk/>
            <pc:sldMk cId="2615612162" sldId="320"/>
            <ac:spMk id="25" creationId="{3E7195DB-C57F-097F-1791-3F1E27A44646}"/>
          </ac:spMkLst>
        </pc:spChg>
        <pc:spChg chg="mod">
          <ac:chgData name="Karanth, Suhas (Allianz SE)" userId="80e062e1-fdb8-46de-bee5-a3166786e341" providerId="ADAL" clId="{361A56D1-2B90-4FC3-A936-DAD77D68E8CE}" dt="2022-12-13T13:20:09.397" v="341" actId="165"/>
          <ac:spMkLst>
            <pc:docMk/>
            <pc:sldMk cId="2615612162" sldId="320"/>
            <ac:spMk id="26" creationId="{C79FD174-6F72-29DB-3AB3-1648CFFC5EF2}"/>
          </ac:spMkLst>
        </pc:spChg>
        <pc:spChg chg="mod">
          <ac:chgData name="Karanth, Suhas (Allianz SE)" userId="80e062e1-fdb8-46de-bee5-a3166786e341" providerId="ADAL" clId="{361A56D1-2B90-4FC3-A936-DAD77D68E8CE}" dt="2022-12-13T13:20:09.397" v="341" actId="165"/>
          <ac:spMkLst>
            <pc:docMk/>
            <pc:sldMk cId="2615612162" sldId="320"/>
            <ac:spMk id="27" creationId="{90130908-BA7E-BF76-B765-D4AFFE31D405}"/>
          </ac:spMkLst>
        </pc:spChg>
        <pc:spChg chg="mod">
          <ac:chgData name="Karanth, Suhas (Allianz SE)" userId="80e062e1-fdb8-46de-bee5-a3166786e341" providerId="ADAL" clId="{361A56D1-2B90-4FC3-A936-DAD77D68E8CE}" dt="2022-12-13T13:19:57.799" v="337" actId="165"/>
          <ac:spMkLst>
            <pc:docMk/>
            <pc:sldMk cId="2615612162" sldId="320"/>
            <ac:spMk id="31" creationId="{47C415CF-4AA8-4384-BC27-B624921EB40F}"/>
          </ac:spMkLst>
        </pc:spChg>
        <pc:spChg chg="mod">
          <ac:chgData name="Karanth, Suhas (Allianz SE)" userId="80e062e1-fdb8-46de-bee5-a3166786e341" providerId="ADAL" clId="{361A56D1-2B90-4FC3-A936-DAD77D68E8CE}" dt="2022-12-13T13:19:57.799" v="337" actId="165"/>
          <ac:spMkLst>
            <pc:docMk/>
            <pc:sldMk cId="2615612162" sldId="320"/>
            <ac:spMk id="32" creationId="{DC4B2029-610E-495A-875D-E5F52DC99630}"/>
          </ac:spMkLst>
        </pc:spChg>
        <pc:spChg chg="mod">
          <ac:chgData name="Karanth, Suhas (Allianz SE)" userId="80e062e1-fdb8-46de-bee5-a3166786e341" providerId="ADAL" clId="{361A56D1-2B90-4FC3-A936-DAD77D68E8CE}" dt="2022-12-13T13:19:57.799" v="337" actId="165"/>
          <ac:spMkLst>
            <pc:docMk/>
            <pc:sldMk cId="2615612162" sldId="320"/>
            <ac:spMk id="33" creationId="{E2387F63-781A-4D54-A3F9-C8C5AA746011}"/>
          </ac:spMkLst>
        </pc:spChg>
        <pc:spChg chg="mod topLvl">
          <ac:chgData name="Karanth, Suhas (Allianz SE)" userId="80e062e1-fdb8-46de-bee5-a3166786e341" providerId="ADAL" clId="{361A56D1-2B90-4FC3-A936-DAD77D68E8CE}" dt="2022-12-13T13:20:57.604" v="347" actId="5793"/>
          <ac:spMkLst>
            <pc:docMk/>
            <pc:sldMk cId="2615612162" sldId="320"/>
            <ac:spMk id="34" creationId="{50AB6555-C212-4152-93EE-5C21C73B2871}"/>
          </ac:spMkLst>
        </pc:spChg>
        <pc:spChg chg="mod topLvl">
          <ac:chgData name="Karanth, Suhas (Allianz SE)" userId="80e062e1-fdb8-46de-bee5-a3166786e341" providerId="ADAL" clId="{361A56D1-2B90-4FC3-A936-DAD77D68E8CE}" dt="2022-12-13T13:20:19.389" v="342" actId="14100"/>
          <ac:spMkLst>
            <pc:docMk/>
            <pc:sldMk cId="2615612162" sldId="320"/>
            <ac:spMk id="36" creationId="{21D3D09A-EACF-DB7D-CF7F-EEE15F533886}"/>
          </ac:spMkLst>
        </pc:spChg>
        <pc:spChg chg="mod topLvl">
          <ac:chgData name="Karanth, Suhas (Allianz SE)" userId="80e062e1-fdb8-46de-bee5-a3166786e341" providerId="ADAL" clId="{361A56D1-2B90-4FC3-A936-DAD77D68E8CE}" dt="2022-12-13T13:26:15.598" v="464" actId="20577"/>
          <ac:spMkLst>
            <pc:docMk/>
            <pc:sldMk cId="2615612162" sldId="320"/>
            <ac:spMk id="37" creationId="{A458D5CC-AFD8-CB14-84DE-C78A1E1FD018}"/>
          </ac:spMkLst>
        </pc:spChg>
        <pc:spChg chg="mod topLvl">
          <ac:chgData name="Karanth, Suhas (Allianz SE)" userId="80e062e1-fdb8-46de-bee5-a3166786e341" providerId="ADAL" clId="{361A56D1-2B90-4FC3-A936-DAD77D68E8CE}" dt="2022-12-13T13:20:19.389" v="342" actId="14100"/>
          <ac:spMkLst>
            <pc:docMk/>
            <pc:sldMk cId="2615612162" sldId="320"/>
            <ac:spMk id="38" creationId="{4DB54ADE-9C75-E652-A9D3-4F38F4E8BF65}"/>
          </ac:spMkLst>
        </pc:spChg>
        <pc:spChg chg="mod topLvl">
          <ac:chgData name="Karanth, Suhas (Allianz SE)" userId="80e062e1-fdb8-46de-bee5-a3166786e341" providerId="ADAL" clId="{361A56D1-2B90-4FC3-A936-DAD77D68E8CE}" dt="2022-12-13T13:22:27.530" v="391" actId="1035"/>
          <ac:spMkLst>
            <pc:docMk/>
            <pc:sldMk cId="2615612162" sldId="320"/>
            <ac:spMk id="42" creationId="{B4BD2AB6-06C6-4929-9631-2ECA8CF3BCE3}"/>
          </ac:spMkLst>
        </pc:spChg>
        <pc:spChg chg="mod">
          <ac:chgData name="Karanth, Suhas (Allianz SE)" userId="80e062e1-fdb8-46de-bee5-a3166786e341" providerId="ADAL" clId="{361A56D1-2B90-4FC3-A936-DAD77D68E8CE}" dt="2022-12-13T13:21:53.620" v="349" actId="165"/>
          <ac:spMkLst>
            <pc:docMk/>
            <pc:sldMk cId="2615612162" sldId="320"/>
            <ac:spMk id="44" creationId="{0C4F8E15-AF68-4251-82F8-DB5BAB1D86B5}"/>
          </ac:spMkLst>
        </pc:spChg>
        <pc:spChg chg="mod">
          <ac:chgData name="Karanth, Suhas (Allianz SE)" userId="80e062e1-fdb8-46de-bee5-a3166786e341" providerId="ADAL" clId="{361A56D1-2B90-4FC3-A936-DAD77D68E8CE}" dt="2022-12-13T13:21:53.620" v="349" actId="165"/>
          <ac:spMkLst>
            <pc:docMk/>
            <pc:sldMk cId="2615612162" sldId="320"/>
            <ac:spMk id="45" creationId="{A46970EB-59FE-40CC-8A48-BFC050A17E36}"/>
          </ac:spMkLst>
        </pc:spChg>
        <pc:spChg chg="mod">
          <ac:chgData name="Karanth, Suhas (Allianz SE)" userId="80e062e1-fdb8-46de-bee5-a3166786e341" providerId="ADAL" clId="{361A56D1-2B90-4FC3-A936-DAD77D68E8CE}" dt="2022-12-13T13:21:53.620" v="349" actId="165"/>
          <ac:spMkLst>
            <pc:docMk/>
            <pc:sldMk cId="2615612162" sldId="320"/>
            <ac:spMk id="46" creationId="{5DDF3AAE-B3F7-428F-964C-78037008BBA3}"/>
          </ac:spMkLst>
        </pc:spChg>
        <pc:spChg chg="mod topLvl">
          <ac:chgData name="Karanth, Suhas (Allianz SE)" userId="80e062e1-fdb8-46de-bee5-a3166786e341" providerId="ADAL" clId="{361A56D1-2B90-4FC3-A936-DAD77D68E8CE}" dt="2022-12-13T13:22:27.530" v="391" actId="1035"/>
          <ac:spMkLst>
            <pc:docMk/>
            <pc:sldMk cId="2615612162" sldId="320"/>
            <ac:spMk id="49" creationId="{596BF169-F508-4B0D-A316-9F0A1965994F}"/>
          </ac:spMkLst>
        </pc:spChg>
        <pc:spChg chg="mod">
          <ac:chgData name="Karanth, Suhas (Allianz SE)" userId="80e062e1-fdb8-46de-bee5-a3166786e341" providerId="ADAL" clId="{361A56D1-2B90-4FC3-A936-DAD77D68E8CE}" dt="2022-12-13T13:21:55.010" v="350" actId="165"/>
          <ac:spMkLst>
            <pc:docMk/>
            <pc:sldMk cId="2615612162" sldId="320"/>
            <ac:spMk id="51" creationId="{2A398624-3A86-4F25-B897-C9688699D49B}"/>
          </ac:spMkLst>
        </pc:spChg>
        <pc:spChg chg="mod">
          <ac:chgData name="Karanth, Suhas (Allianz SE)" userId="80e062e1-fdb8-46de-bee5-a3166786e341" providerId="ADAL" clId="{361A56D1-2B90-4FC3-A936-DAD77D68E8CE}" dt="2022-12-13T13:21:55.010" v="350" actId="165"/>
          <ac:spMkLst>
            <pc:docMk/>
            <pc:sldMk cId="2615612162" sldId="320"/>
            <ac:spMk id="52" creationId="{6DB289BD-CB5C-4695-9781-38D4A0B3D0A4}"/>
          </ac:spMkLst>
        </pc:spChg>
        <pc:spChg chg="mod">
          <ac:chgData name="Karanth, Suhas (Allianz SE)" userId="80e062e1-fdb8-46de-bee5-a3166786e341" providerId="ADAL" clId="{361A56D1-2B90-4FC3-A936-DAD77D68E8CE}" dt="2022-12-13T13:21:55.010" v="350" actId="165"/>
          <ac:spMkLst>
            <pc:docMk/>
            <pc:sldMk cId="2615612162" sldId="320"/>
            <ac:spMk id="53" creationId="{52BA0066-C6BA-419C-80AB-08CB7E062933}"/>
          </ac:spMkLst>
        </pc:spChg>
        <pc:spChg chg="mod topLvl">
          <ac:chgData name="Karanth, Suhas (Allianz SE)" userId="80e062e1-fdb8-46de-bee5-a3166786e341" providerId="ADAL" clId="{361A56D1-2B90-4FC3-A936-DAD77D68E8CE}" dt="2022-12-13T13:22:27.530" v="391" actId="1035"/>
          <ac:spMkLst>
            <pc:docMk/>
            <pc:sldMk cId="2615612162" sldId="320"/>
            <ac:spMk id="56" creationId="{16CA5BB3-6D1B-4FA0-AAAE-D98100575713}"/>
          </ac:spMkLst>
        </pc:spChg>
        <pc:spChg chg="mod">
          <ac:chgData name="Karanth, Suhas (Allianz SE)" userId="80e062e1-fdb8-46de-bee5-a3166786e341" providerId="ADAL" clId="{361A56D1-2B90-4FC3-A936-DAD77D68E8CE}" dt="2022-12-13T13:21:56.197" v="351" actId="165"/>
          <ac:spMkLst>
            <pc:docMk/>
            <pc:sldMk cId="2615612162" sldId="320"/>
            <ac:spMk id="58" creationId="{B412DB98-B3B2-468D-96D8-4C9D52ADA993}"/>
          </ac:spMkLst>
        </pc:spChg>
        <pc:spChg chg="mod">
          <ac:chgData name="Karanth, Suhas (Allianz SE)" userId="80e062e1-fdb8-46de-bee5-a3166786e341" providerId="ADAL" clId="{361A56D1-2B90-4FC3-A936-DAD77D68E8CE}" dt="2022-12-13T13:21:56.197" v="351" actId="165"/>
          <ac:spMkLst>
            <pc:docMk/>
            <pc:sldMk cId="2615612162" sldId="320"/>
            <ac:spMk id="59" creationId="{3ACE1962-D260-44EA-AFA8-772B66353A66}"/>
          </ac:spMkLst>
        </pc:spChg>
        <pc:spChg chg="mod">
          <ac:chgData name="Karanth, Suhas (Allianz SE)" userId="80e062e1-fdb8-46de-bee5-a3166786e341" providerId="ADAL" clId="{361A56D1-2B90-4FC3-A936-DAD77D68E8CE}" dt="2022-12-13T13:21:56.197" v="351" actId="165"/>
          <ac:spMkLst>
            <pc:docMk/>
            <pc:sldMk cId="2615612162" sldId="320"/>
            <ac:spMk id="60" creationId="{57844427-8538-46E7-AEFD-6DFA28736ABE}"/>
          </ac:spMkLst>
        </pc:spChg>
        <pc:spChg chg="mod topLvl">
          <ac:chgData name="Karanth, Suhas (Allianz SE)" userId="80e062e1-fdb8-46de-bee5-a3166786e341" providerId="ADAL" clId="{361A56D1-2B90-4FC3-A936-DAD77D68E8CE}" dt="2022-12-13T13:22:27.530" v="391" actId="1035"/>
          <ac:spMkLst>
            <pc:docMk/>
            <pc:sldMk cId="2615612162" sldId="320"/>
            <ac:spMk id="63" creationId="{20C5A9CA-0AF1-456E-9ADB-C828AFC1B0C8}"/>
          </ac:spMkLst>
        </pc:spChg>
        <pc:spChg chg="mod">
          <ac:chgData name="Karanth, Suhas (Allianz SE)" userId="80e062e1-fdb8-46de-bee5-a3166786e341" providerId="ADAL" clId="{361A56D1-2B90-4FC3-A936-DAD77D68E8CE}" dt="2022-12-13T13:21:57.643" v="352" actId="165"/>
          <ac:spMkLst>
            <pc:docMk/>
            <pc:sldMk cId="2615612162" sldId="320"/>
            <ac:spMk id="65" creationId="{69BC31E0-0DE5-4522-AA80-71AADDEECA4E}"/>
          </ac:spMkLst>
        </pc:spChg>
        <pc:spChg chg="mod">
          <ac:chgData name="Karanth, Suhas (Allianz SE)" userId="80e062e1-fdb8-46de-bee5-a3166786e341" providerId="ADAL" clId="{361A56D1-2B90-4FC3-A936-DAD77D68E8CE}" dt="2022-12-13T13:21:57.643" v="352" actId="165"/>
          <ac:spMkLst>
            <pc:docMk/>
            <pc:sldMk cId="2615612162" sldId="320"/>
            <ac:spMk id="66" creationId="{FFAC0594-769C-4BF8-83D4-7738007ED13B}"/>
          </ac:spMkLst>
        </pc:spChg>
        <pc:spChg chg="mod">
          <ac:chgData name="Karanth, Suhas (Allianz SE)" userId="80e062e1-fdb8-46de-bee5-a3166786e341" providerId="ADAL" clId="{361A56D1-2B90-4FC3-A936-DAD77D68E8CE}" dt="2022-12-13T13:21:57.643" v="352" actId="165"/>
          <ac:spMkLst>
            <pc:docMk/>
            <pc:sldMk cId="2615612162" sldId="320"/>
            <ac:spMk id="67" creationId="{D29DE23E-A773-431C-BA69-B53E157885DC}"/>
          </ac:spMkLst>
        </pc:spChg>
        <pc:spChg chg="mod topLvl">
          <ac:chgData name="Karanth, Suhas (Allianz SE)" userId="80e062e1-fdb8-46de-bee5-a3166786e341" providerId="ADAL" clId="{361A56D1-2B90-4FC3-A936-DAD77D68E8CE}" dt="2022-12-13T13:24:32.395" v="404" actId="5793"/>
          <ac:spMkLst>
            <pc:docMk/>
            <pc:sldMk cId="2615612162" sldId="320"/>
            <ac:spMk id="70" creationId="{1910B73C-525F-4F5F-BC9D-0EBF81723D05}"/>
          </ac:spMkLst>
        </pc:spChg>
        <pc:spChg chg="mod">
          <ac:chgData name="Karanth, Suhas (Allianz SE)" userId="80e062e1-fdb8-46de-bee5-a3166786e341" providerId="ADAL" clId="{361A56D1-2B90-4FC3-A936-DAD77D68E8CE}" dt="2022-12-13T13:21:52.260" v="348" actId="165"/>
          <ac:spMkLst>
            <pc:docMk/>
            <pc:sldMk cId="2615612162" sldId="320"/>
            <ac:spMk id="72" creationId="{C13EC5E9-CEA1-4C62-AA69-4CD90E54412C}"/>
          </ac:spMkLst>
        </pc:spChg>
        <pc:spChg chg="mod">
          <ac:chgData name="Karanth, Suhas (Allianz SE)" userId="80e062e1-fdb8-46de-bee5-a3166786e341" providerId="ADAL" clId="{361A56D1-2B90-4FC3-A936-DAD77D68E8CE}" dt="2022-12-13T13:21:52.260" v="348" actId="165"/>
          <ac:spMkLst>
            <pc:docMk/>
            <pc:sldMk cId="2615612162" sldId="320"/>
            <ac:spMk id="73" creationId="{20F3F096-CB4E-4C09-BA9C-CAA4A1DE87BF}"/>
          </ac:spMkLst>
        </pc:spChg>
        <pc:spChg chg="mod">
          <ac:chgData name="Karanth, Suhas (Allianz SE)" userId="80e062e1-fdb8-46de-bee5-a3166786e341" providerId="ADAL" clId="{361A56D1-2B90-4FC3-A936-DAD77D68E8CE}" dt="2022-12-13T13:21:52.260" v="348" actId="165"/>
          <ac:spMkLst>
            <pc:docMk/>
            <pc:sldMk cId="2615612162" sldId="320"/>
            <ac:spMk id="74" creationId="{B88CC575-4FE5-4728-9D9F-C000E485ECD4}"/>
          </ac:spMkLst>
        </pc:spChg>
        <pc:spChg chg="mod">
          <ac:chgData name="Karanth, Suhas (Allianz SE)" userId="80e062e1-fdb8-46de-bee5-a3166786e341" providerId="ADAL" clId="{361A56D1-2B90-4FC3-A936-DAD77D68E8CE}" dt="2022-12-13T13:22:27.530" v="391" actId="1035"/>
          <ac:spMkLst>
            <pc:docMk/>
            <pc:sldMk cId="2615612162" sldId="320"/>
            <ac:spMk id="78" creationId="{B14FBBA0-87DC-91DD-DA2C-A3F9E615884F}"/>
          </ac:spMkLst>
        </pc:spChg>
        <pc:spChg chg="mod topLvl">
          <ac:chgData name="Karanth, Suhas (Allianz SE)" userId="80e062e1-fdb8-46de-bee5-a3166786e341" providerId="ADAL" clId="{361A56D1-2B90-4FC3-A936-DAD77D68E8CE}" dt="2022-12-13T13:23:05.860" v="398" actId="14100"/>
          <ac:spMkLst>
            <pc:docMk/>
            <pc:sldMk cId="2615612162" sldId="320"/>
            <ac:spMk id="79" creationId="{A74B6956-1B7B-4A18-973F-A5FACFE2F02A}"/>
          </ac:spMkLst>
        </pc:spChg>
        <pc:spChg chg="mod">
          <ac:chgData name="Karanth, Suhas (Allianz SE)" userId="80e062e1-fdb8-46de-bee5-a3166786e341" providerId="ADAL" clId="{361A56D1-2B90-4FC3-A936-DAD77D68E8CE}" dt="2022-12-13T13:22:52.473" v="396" actId="165"/>
          <ac:spMkLst>
            <pc:docMk/>
            <pc:sldMk cId="2615612162" sldId="320"/>
            <ac:spMk id="81" creationId="{256C26F5-66EE-46E8-9A26-F5B85CBD8DC3}"/>
          </ac:spMkLst>
        </pc:spChg>
        <pc:spChg chg="mod">
          <ac:chgData name="Karanth, Suhas (Allianz SE)" userId="80e062e1-fdb8-46de-bee5-a3166786e341" providerId="ADAL" clId="{361A56D1-2B90-4FC3-A936-DAD77D68E8CE}" dt="2022-12-13T13:22:52.473" v="396" actId="165"/>
          <ac:spMkLst>
            <pc:docMk/>
            <pc:sldMk cId="2615612162" sldId="320"/>
            <ac:spMk id="82" creationId="{2EB378BD-107B-4BAB-A203-CB0F7027E2BD}"/>
          </ac:spMkLst>
        </pc:spChg>
        <pc:spChg chg="mod">
          <ac:chgData name="Karanth, Suhas (Allianz SE)" userId="80e062e1-fdb8-46de-bee5-a3166786e341" providerId="ADAL" clId="{361A56D1-2B90-4FC3-A936-DAD77D68E8CE}" dt="2022-12-13T13:22:52.473" v="396" actId="165"/>
          <ac:spMkLst>
            <pc:docMk/>
            <pc:sldMk cId="2615612162" sldId="320"/>
            <ac:spMk id="83" creationId="{6720C115-E2AA-470A-BFF7-13B218902E86}"/>
          </ac:spMkLst>
        </pc:spChg>
        <pc:spChg chg="mod topLvl">
          <ac:chgData name="Karanth, Suhas (Allianz SE)" userId="80e062e1-fdb8-46de-bee5-a3166786e341" providerId="ADAL" clId="{361A56D1-2B90-4FC3-A936-DAD77D68E8CE}" dt="2022-12-13T13:23:05.860" v="398" actId="14100"/>
          <ac:spMkLst>
            <pc:docMk/>
            <pc:sldMk cId="2615612162" sldId="320"/>
            <ac:spMk id="86" creationId="{6AFAAB8B-8795-4972-8EB1-01FE82DB2291}"/>
          </ac:spMkLst>
        </pc:spChg>
        <pc:spChg chg="mod">
          <ac:chgData name="Karanth, Suhas (Allianz SE)" userId="80e062e1-fdb8-46de-bee5-a3166786e341" providerId="ADAL" clId="{361A56D1-2B90-4FC3-A936-DAD77D68E8CE}" dt="2022-12-13T13:22:54.945" v="397" actId="165"/>
          <ac:spMkLst>
            <pc:docMk/>
            <pc:sldMk cId="2615612162" sldId="320"/>
            <ac:spMk id="88" creationId="{16A95FC5-644E-4334-B6EF-883491E54F78}"/>
          </ac:spMkLst>
        </pc:spChg>
        <pc:spChg chg="mod">
          <ac:chgData name="Karanth, Suhas (Allianz SE)" userId="80e062e1-fdb8-46de-bee5-a3166786e341" providerId="ADAL" clId="{361A56D1-2B90-4FC3-A936-DAD77D68E8CE}" dt="2022-12-13T13:22:54.945" v="397" actId="165"/>
          <ac:spMkLst>
            <pc:docMk/>
            <pc:sldMk cId="2615612162" sldId="320"/>
            <ac:spMk id="89" creationId="{A39A53EB-511E-4452-873C-F62507744391}"/>
          </ac:spMkLst>
        </pc:spChg>
        <pc:spChg chg="mod">
          <ac:chgData name="Karanth, Suhas (Allianz SE)" userId="80e062e1-fdb8-46de-bee5-a3166786e341" providerId="ADAL" clId="{361A56D1-2B90-4FC3-A936-DAD77D68E8CE}" dt="2022-12-13T13:22:54.945" v="397" actId="165"/>
          <ac:spMkLst>
            <pc:docMk/>
            <pc:sldMk cId="2615612162" sldId="320"/>
            <ac:spMk id="90" creationId="{430E88E1-6BC3-4E6B-9C39-6EA528855CF9}"/>
          </ac:spMkLst>
        </pc:spChg>
        <pc:spChg chg="mod topLvl">
          <ac:chgData name="Karanth, Suhas (Allianz SE)" userId="80e062e1-fdb8-46de-bee5-a3166786e341" providerId="ADAL" clId="{361A56D1-2B90-4FC3-A936-DAD77D68E8CE}" dt="2022-12-13T13:23:05.860" v="398" actId="14100"/>
          <ac:spMkLst>
            <pc:docMk/>
            <pc:sldMk cId="2615612162" sldId="320"/>
            <ac:spMk id="93" creationId="{7AA211AF-620D-43D0-99A7-E207243C995A}"/>
          </ac:spMkLst>
        </pc:spChg>
        <pc:spChg chg="mod">
          <ac:chgData name="Karanth, Suhas (Allianz SE)" userId="80e062e1-fdb8-46de-bee5-a3166786e341" providerId="ADAL" clId="{361A56D1-2B90-4FC3-A936-DAD77D68E8CE}" dt="2022-12-13T13:22:50.726" v="395" actId="165"/>
          <ac:spMkLst>
            <pc:docMk/>
            <pc:sldMk cId="2615612162" sldId="320"/>
            <ac:spMk id="95" creationId="{3CF3C409-7122-415B-9D5D-94C43B49D49E}"/>
          </ac:spMkLst>
        </pc:spChg>
        <pc:spChg chg="mod">
          <ac:chgData name="Karanth, Suhas (Allianz SE)" userId="80e062e1-fdb8-46de-bee5-a3166786e341" providerId="ADAL" clId="{361A56D1-2B90-4FC3-A936-DAD77D68E8CE}" dt="2022-12-13T13:22:50.726" v="395" actId="165"/>
          <ac:spMkLst>
            <pc:docMk/>
            <pc:sldMk cId="2615612162" sldId="320"/>
            <ac:spMk id="96" creationId="{20130C78-81FE-4742-820E-0C1A54658FFB}"/>
          </ac:spMkLst>
        </pc:spChg>
        <pc:spChg chg="mod">
          <ac:chgData name="Karanth, Suhas (Allianz SE)" userId="80e062e1-fdb8-46de-bee5-a3166786e341" providerId="ADAL" clId="{361A56D1-2B90-4FC3-A936-DAD77D68E8CE}" dt="2022-12-13T13:22:50.726" v="395" actId="165"/>
          <ac:spMkLst>
            <pc:docMk/>
            <pc:sldMk cId="2615612162" sldId="320"/>
            <ac:spMk id="97" creationId="{668C1CA0-A7DA-4EB2-B966-5F50DA58FDBC}"/>
          </ac:spMkLst>
        </pc:spChg>
        <pc:grpChg chg="del">
          <ac:chgData name="Karanth, Suhas (Allianz SE)" userId="80e062e1-fdb8-46de-bee5-a3166786e341" providerId="ADAL" clId="{361A56D1-2B90-4FC3-A936-DAD77D68E8CE}" dt="2022-12-13T13:19:57.799" v="337" actId="165"/>
          <ac:grpSpMkLst>
            <pc:docMk/>
            <pc:sldMk cId="2615612162" sldId="320"/>
            <ac:grpSpMk id="3" creationId="{CE03D6A0-5084-4726-8B3D-E7D522E908CF}"/>
          </ac:grpSpMkLst>
        </pc:grpChg>
        <pc:grpChg chg="del">
          <ac:chgData name="Karanth, Suhas (Allianz SE)" userId="80e062e1-fdb8-46de-bee5-a3166786e341" providerId="ADAL" clId="{361A56D1-2B90-4FC3-A936-DAD77D68E8CE}" dt="2022-12-13T13:20:00.103" v="338" actId="165"/>
          <ac:grpSpMkLst>
            <pc:docMk/>
            <pc:sldMk cId="2615612162" sldId="320"/>
            <ac:grpSpMk id="4" creationId="{55983BAA-F226-470E-9470-C02A86D0E447}"/>
          </ac:grpSpMkLst>
        </pc:grpChg>
        <pc:grpChg chg="mod topLvl">
          <ac:chgData name="Karanth, Suhas (Allianz SE)" userId="80e062e1-fdb8-46de-bee5-a3166786e341" providerId="ADAL" clId="{361A56D1-2B90-4FC3-A936-DAD77D68E8CE}" dt="2022-12-13T13:20:00.103" v="338" actId="165"/>
          <ac:grpSpMkLst>
            <pc:docMk/>
            <pc:sldMk cId="2615612162" sldId="320"/>
            <ac:grpSpMk id="8" creationId="{A401CC4C-6FD9-D1BE-1B97-D395BA35485F}"/>
          </ac:grpSpMkLst>
        </pc:grpChg>
        <pc:grpChg chg="mod topLvl">
          <ac:chgData name="Karanth, Suhas (Allianz SE)" userId="80e062e1-fdb8-46de-bee5-a3166786e341" providerId="ADAL" clId="{361A56D1-2B90-4FC3-A936-DAD77D68E8CE}" dt="2022-12-13T13:20:04.308" v="339" actId="165"/>
          <ac:grpSpMkLst>
            <pc:docMk/>
            <pc:sldMk cId="2615612162" sldId="320"/>
            <ac:grpSpMk id="13" creationId="{BBC84A7A-F8EB-8DAA-006B-4E2BD8CF25AE}"/>
          </ac:grpSpMkLst>
        </pc:grpChg>
        <pc:grpChg chg="mod topLvl">
          <ac:chgData name="Karanth, Suhas (Allianz SE)" userId="80e062e1-fdb8-46de-bee5-a3166786e341" providerId="ADAL" clId="{361A56D1-2B90-4FC3-A936-DAD77D68E8CE}" dt="2022-12-13T13:20:06.995" v="340" actId="165"/>
          <ac:grpSpMkLst>
            <pc:docMk/>
            <pc:sldMk cId="2615612162" sldId="320"/>
            <ac:grpSpMk id="18" creationId="{2123415A-F564-6F17-27D4-0515E5EB6DE4}"/>
          </ac:grpSpMkLst>
        </pc:grpChg>
        <pc:grpChg chg="mod topLvl">
          <ac:chgData name="Karanth, Suhas (Allianz SE)" userId="80e062e1-fdb8-46de-bee5-a3166786e341" providerId="ADAL" clId="{361A56D1-2B90-4FC3-A936-DAD77D68E8CE}" dt="2022-12-13T13:20:09.397" v="341" actId="165"/>
          <ac:grpSpMkLst>
            <pc:docMk/>
            <pc:sldMk cId="2615612162" sldId="320"/>
            <ac:grpSpMk id="23" creationId="{D33AFCCF-679E-C637-EC77-B294B5677DE4}"/>
          </ac:grpSpMkLst>
        </pc:grpChg>
        <pc:grpChg chg="del">
          <ac:chgData name="Karanth, Suhas (Allianz SE)" userId="80e062e1-fdb8-46de-bee5-a3166786e341" providerId="ADAL" clId="{361A56D1-2B90-4FC3-A936-DAD77D68E8CE}" dt="2022-12-13T13:20:04.308" v="339" actId="165"/>
          <ac:grpSpMkLst>
            <pc:docMk/>
            <pc:sldMk cId="2615612162" sldId="320"/>
            <ac:grpSpMk id="28" creationId="{5795D45B-2EF5-4FD4-BA3C-6A12FBD31F8D}"/>
          </ac:grpSpMkLst>
        </pc:grpChg>
        <pc:grpChg chg="mod topLvl">
          <ac:chgData name="Karanth, Suhas (Allianz SE)" userId="80e062e1-fdb8-46de-bee5-a3166786e341" providerId="ADAL" clId="{361A56D1-2B90-4FC3-A936-DAD77D68E8CE}" dt="2022-12-13T13:19:57.799" v="337" actId="165"/>
          <ac:grpSpMkLst>
            <pc:docMk/>
            <pc:sldMk cId="2615612162" sldId="320"/>
            <ac:grpSpMk id="29" creationId="{73D2D91E-F04C-4D30-AC3C-2F6699EFE66F}"/>
          </ac:grpSpMkLst>
        </pc:grpChg>
        <pc:grpChg chg="del">
          <ac:chgData name="Karanth, Suhas (Allianz SE)" userId="80e062e1-fdb8-46de-bee5-a3166786e341" providerId="ADAL" clId="{361A56D1-2B90-4FC3-A936-DAD77D68E8CE}" dt="2022-12-13T13:20:06.995" v="340" actId="165"/>
          <ac:grpSpMkLst>
            <pc:docMk/>
            <pc:sldMk cId="2615612162" sldId="320"/>
            <ac:grpSpMk id="35" creationId="{0B1E8016-E2D5-428C-B273-77A6F8F01E82}"/>
          </ac:grpSpMkLst>
        </pc:grpChg>
        <pc:grpChg chg="del">
          <ac:chgData name="Karanth, Suhas (Allianz SE)" userId="80e062e1-fdb8-46de-bee5-a3166786e341" providerId="ADAL" clId="{361A56D1-2B90-4FC3-A936-DAD77D68E8CE}" dt="2022-12-13T13:20:09.397" v="341" actId="165"/>
          <ac:grpSpMkLst>
            <pc:docMk/>
            <pc:sldMk cId="2615612162" sldId="320"/>
            <ac:grpSpMk id="39" creationId="{5B31FD6E-B3CE-4396-ACE1-72FC9928368A}"/>
          </ac:grpSpMkLst>
        </pc:grpChg>
        <pc:grpChg chg="del">
          <ac:chgData name="Karanth, Suhas (Allianz SE)" userId="80e062e1-fdb8-46de-bee5-a3166786e341" providerId="ADAL" clId="{361A56D1-2B90-4FC3-A936-DAD77D68E8CE}" dt="2022-12-13T13:21:53.620" v="349" actId="165"/>
          <ac:grpSpMkLst>
            <pc:docMk/>
            <pc:sldMk cId="2615612162" sldId="320"/>
            <ac:grpSpMk id="40" creationId="{90C7A959-9F94-4753-8039-3484BDDC3AC8}"/>
          </ac:grpSpMkLst>
        </pc:grpChg>
        <pc:grpChg chg="mod topLvl">
          <ac:chgData name="Karanth, Suhas (Allianz SE)" userId="80e062e1-fdb8-46de-bee5-a3166786e341" providerId="ADAL" clId="{361A56D1-2B90-4FC3-A936-DAD77D68E8CE}" dt="2022-12-13T13:22:27.530" v="391" actId="1035"/>
          <ac:grpSpMkLst>
            <pc:docMk/>
            <pc:sldMk cId="2615612162" sldId="320"/>
            <ac:grpSpMk id="41" creationId="{B77504A8-F208-4E36-ABB3-396E8A6A7CBD}"/>
          </ac:grpSpMkLst>
        </pc:grpChg>
        <pc:grpChg chg="del">
          <ac:chgData name="Karanth, Suhas (Allianz SE)" userId="80e062e1-fdb8-46de-bee5-a3166786e341" providerId="ADAL" clId="{361A56D1-2B90-4FC3-A936-DAD77D68E8CE}" dt="2022-12-13T13:21:55.010" v="350" actId="165"/>
          <ac:grpSpMkLst>
            <pc:docMk/>
            <pc:sldMk cId="2615612162" sldId="320"/>
            <ac:grpSpMk id="47" creationId="{9EFC0663-59A0-4937-94DD-D4F5D091EC80}"/>
          </ac:grpSpMkLst>
        </pc:grpChg>
        <pc:grpChg chg="mod topLvl">
          <ac:chgData name="Karanth, Suhas (Allianz SE)" userId="80e062e1-fdb8-46de-bee5-a3166786e341" providerId="ADAL" clId="{361A56D1-2B90-4FC3-A936-DAD77D68E8CE}" dt="2022-12-13T13:22:27.530" v="391" actId="1035"/>
          <ac:grpSpMkLst>
            <pc:docMk/>
            <pc:sldMk cId="2615612162" sldId="320"/>
            <ac:grpSpMk id="48" creationId="{B91C9E5B-6851-4034-B017-DAF11B9CFA30}"/>
          </ac:grpSpMkLst>
        </pc:grpChg>
        <pc:grpChg chg="del">
          <ac:chgData name="Karanth, Suhas (Allianz SE)" userId="80e062e1-fdb8-46de-bee5-a3166786e341" providerId="ADAL" clId="{361A56D1-2B90-4FC3-A936-DAD77D68E8CE}" dt="2022-12-13T13:21:56.197" v="351" actId="165"/>
          <ac:grpSpMkLst>
            <pc:docMk/>
            <pc:sldMk cId="2615612162" sldId="320"/>
            <ac:grpSpMk id="54" creationId="{AEF831FA-7113-4E45-8351-8CA7703867ED}"/>
          </ac:grpSpMkLst>
        </pc:grpChg>
        <pc:grpChg chg="mod topLvl">
          <ac:chgData name="Karanth, Suhas (Allianz SE)" userId="80e062e1-fdb8-46de-bee5-a3166786e341" providerId="ADAL" clId="{361A56D1-2B90-4FC3-A936-DAD77D68E8CE}" dt="2022-12-13T13:22:27.530" v="391" actId="1035"/>
          <ac:grpSpMkLst>
            <pc:docMk/>
            <pc:sldMk cId="2615612162" sldId="320"/>
            <ac:grpSpMk id="55" creationId="{38BED337-1A5C-4AFD-8DD0-3EC5465879D3}"/>
          </ac:grpSpMkLst>
        </pc:grpChg>
        <pc:grpChg chg="del">
          <ac:chgData name="Karanth, Suhas (Allianz SE)" userId="80e062e1-fdb8-46de-bee5-a3166786e341" providerId="ADAL" clId="{361A56D1-2B90-4FC3-A936-DAD77D68E8CE}" dt="2022-12-13T13:21:57.643" v="352" actId="165"/>
          <ac:grpSpMkLst>
            <pc:docMk/>
            <pc:sldMk cId="2615612162" sldId="320"/>
            <ac:grpSpMk id="61" creationId="{1C8FA74F-0E25-4051-B925-BFC6E1DAA8AD}"/>
          </ac:grpSpMkLst>
        </pc:grpChg>
        <pc:grpChg chg="mod topLvl">
          <ac:chgData name="Karanth, Suhas (Allianz SE)" userId="80e062e1-fdb8-46de-bee5-a3166786e341" providerId="ADAL" clId="{361A56D1-2B90-4FC3-A936-DAD77D68E8CE}" dt="2022-12-13T13:22:27.530" v="391" actId="1035"/>
          <ac:grpSpMkLst>
            <pc:docMk/>
            <pc:sldMk cId="2615612162" sldId="320"/>
            <ac:grpSpMk id="62" creationId="{2B30D642-BE85-40F8-A58D-8CB8FF6B0F6B}"/>
          </ac:grpSpMkLst>
        </pc:grpChg>
        <pc:grpChg chg="del">
          <ac:chgData name="Karanth, Suhas (Allianz SE)" userId="80e062e1-fdb8-46de-bee5-a3166786e341" providerId="ADAL" clId="{361A56D1-2B90-4FC3-A936-DAD77D68E8CE}" dt="2022-12-13T13:21:52.260" v="348" actId="165"/>
          <ac:grpSpMkLst>
            <pc:docMk/>
            <pc:sldMk cId="2615612162" sldId="320"/>
            <ac:grpSpMk id="68" creationId="{CD64EEE4-8E8C-4F62-831E-F35A20535FD8}"/>
          </ac:grpSpMkLst>
        </pc:grpChg>
        <pc:grpChg chg="mod topLvl">
          <ac:chgData name="Karanth, Suhas (Allianz SE)" userId="80e062e1-fdb8-46de-bee5-a3166786e341" providerId="ADAL" clId="{361A56D1-2B90-4FC3-A936-DAD77D68E8CE}" dt="2022-12-13T13:22:27.530" v="391" actId="1035"/>
          <ac:grpSpMkLst>
            <pc:docMk/>
            <pc:sldMk cId="2615612162" sldId="320"/>
            <ac:grpSpMk id="69" creationId="{CF58D1A6-90B3-4709-82F8-8539AEAEC188}"/>
          </ac:grpSpMkLst>
        </pc:grpChg>
        <pc:grpChg chg="add del mod">
          <ac:chgData name="Karanth, Suhas (Allianz SE)" userId="80e062e1-fdb8-46de-bee5-a3166786e341" providerId="ADAL" clId="{361A56D1-2B90-4FC3-A936-DAD77D68E8CE}" dt="2022-12-13T13:22:52.473" v="396" actId="165"/>
          <ac:grpSpMkLst>
            <pc:docMk/>
            <pc:sldMk cId="2615612162" sldId="320"/>
            <ac:grpSpMk id="76" creationId="{5D056B3F-0E8F-4639-8F20-77FE21A991D0}"/>
          </ac:grpSpMkLst>
        </pc:grpChg>
        <pc:grpChg chg="mod topLvl">
          <ac:chgData name="Karanth, Suhas (Allianz SE)" userId="80e062e1-fdb8-46de-bee5-a3166786e341" providerId="ADAL" clId="{361A56D1-2B90-4FC3-A936-DAD77D68E8CE}" dt="2022-12-13T13:22:52.473" v="396" actId="165"/>
          <ac:grpSpMkLst>
            <pc:docMk/>
            <pc:sldMk cId="2615612162" sldId="320"/>
            <ac:grpSpMk id="77" creationId="{574DE4B7-44BC-4F86-84E2-04188E35B0D8}"/>
          </ac:grpSpMkLst>
        </pc:grpChg>
        <pc:grpChg chg="add del mod">
          <ac:chgData name="Karanth, Suhas (Allianz SE)" userId="80e062e1-fdb8-46de-bee5-a3166786e341" providerId="ADAL" clId="{361A56D1-2B90-4FC3-A936-DAD77D68E8CE}" dt="2022-12-13T13:22:54.945" v="397" actId="165"/>
          <ac:grpSpMkLst>
            <pc:docMk/>
            <pc:sldMk cId="2615612162" sldId="320"/>
            <ac:grpSpMk id="84" creationId="{5A51C7B6-9D4D-4542-B77E-AF53E3DF3BFF}"/>
          </ac:grpSpMkLst>
        </pc:grpChg>
        <pc:grpChg chg="mod topLvl">
          <ac:chgData name="Karanth, Suhas (Allianz SE)" userId="80e062e1-fdb8-46de-bee5-a3166786e341" providerId="ADAL" clId="{361A56D1-2B90-4FC3-A936-DAD77D68E8CE}" dt="2022-12-13T13:22:54.945" v="397" actId="165"/>
          <ac:grpSpMkLst>
            <pc:docMk/>
            <pc:sldMk cId="2615612162" sldId="320"/>
            <ac:grpSpMk id="85" creationId="{D6B3FCF7-C0A2-4C36-99A4-6302267FAD04}"/>
          </ac:grpSpMkLst>
        </pc:grpChg>
        <pc:grpChg chg="add del mod">
          <ac:chgData name="Karanth, Suhas (Allianz SE)" userId="80e062e1-fdb8-46de-bee5-a3166786e341" providerId="ADAL" clId="{361A56D1-2B90-4FC3-A936-DAD77D68E8CE}" dt="2022-12-13T13:22:50.726" v="395" actId="165"/>
          <ac:grpSpMkLst>
            <pc:docMk/>
            <pc:sldMk cId="2615612162" sldId="320"/>
            <ac:grpSpMk id="91" creationId="{F292937A-B1E9-4A34-874B-002C4E1B071C}"/>
          </ac:grpSpMkLst>
        </pc:grpChg>
        <pc:grpChg chg="mod topLvl">
          <ac:chgData name="Karanth, Suhas (Allianz SE)" userId="80e062e1-fdb8-46de-bee5-a3166786e341" providerId="ADAL" clId="{361A56D1-2B90-4FC3-A936-DAD77D68E8CE}" dt="2022-12-13T13:22:50.726" v="395" actId="165"/>
          <ac:grpSpMkLst>
            <pc:docMk/>
            <pc:sldMk cId="2615612162" sldId="320"/>
            <ac:grpSpMk id="92" creationId="{E637E265-26F3-4B76-9AB0-F8B4D3756C24}"/>
          </ac:grpSpMkLst>
        </pc:grpChg>
        <pc:picChg chg="mod">
          <ac:chgData name="Karanth, Suhas (Allianz SE)" userId="80e062e1-fdb8-46de-bee5-a3166786e341" providerId="ADAL" clId="{361A56D1-2B90-4FC3-A936-DAD77D68E8CE}" dt="2022-12-13T13:20:00.103" v="338" actId="165"/>
          <ac:picMkLst>
            <pc:docMk/>
            <pc:sldMk cId="2615612162" sldId="320"/>
            <ac:picMk id="9" creationId="{B9EF0765-A9E2-1D86-CC56-EDF4FD8B70EF}"/>
          </ac:picMkLst>
        </pc:picChg>
        <pc:picChg chg="mod">
          <ac:chgData name="Karanth, Suhas (Allianz SE)" userId="80e062e1-fdb8-46de-bee5-a3166786e341" providerId="ADAL" clId="{361A56D1-2B90-4FC3-A936-DAD77D68E8CE}" dt="2022-12-13T13:20:04.308" v="339" actId="165"/>
          <ac:picMkLst>
            <pc:docMk/>
            <pc:sldMk cId="2615612162" sldId="320"/>
            <ac:picMk id="14" creationId="{735A8A60-448B-E830-0908-E5F7534491A4}"/>
          </ac:picMkLst>
        </pc:picChg>
        <pc:picChg chg="mod">
          <ac:chgData name="Karanth, Suhas (Allianz SE)" userId="80e062e1-fdb8-46de-bee5-a3166786e341" providerId="ADAL" clId="{361A56D1-2B90-4FC3-A936-DAD77D68E8CE}" dt="2022-12-13T13:20:06.995" v="340" actId="165"/>
          <ac:picMkLst>
            <pc:docMk/>
            <pc:sldMk cId="2615612162" sldId="320"/>
            <ac:picMk id="19" creationId="{94928F94-44B9-F901-4484-9DC195BF2308}"/>
          </ac:picMkLst>
        </pc:picChg>
        <pc:picChg chg="mod">
          <ac:chgData name="Karanth, Suhas (Allianz SE)" userId="80e062e1-fdb8-46de-bee5-a3166786e341" providerId="ADAL" clId="{361A56D1-2B90-4FC3-A936-DAD77D68E8CE}" dt="2022-12-13T13:20:09.397" v="341" actId="165"/>
          <ac:picMkLst>
            <pc:docMk/>
            <pc:sldMk cId="2615612162" sldId="320"/>
            <ac:picMk id="24" creationId="{F647F6FE-CC80-6FB2-08BC-0018EA5204EA}"/>
          </ac:picMkLst>
        </pc:picChg>
        <pc:picChg chg="mod">
          <ac:chgData name="Karanth, Suhas (Allianz SE)" userId="80e062e1-fdb8-46de-bee5-a3166786e341" providerId="ADAL" clId="{361A56D1-2B90-4FC3-A936-DAD77D68E8CE}" dt="2022-12-13T13:19:57.799" v="337" actId="165"/>
          <ac:picMkLst>
            <pc:docMk/>
            <pc:sldMk cId="2615612162" sldId="320"/>
            <ac:picMk id="30" creationId="{2A9D0281-9D43-4BCA-A1E8-08035F3F9840}"/>
          </ac:picMkLst>
        </pc:picChg>
        <pc:picChg chg="mod">
          <ac:chgData name="Karanth, Suhas (Allianz SE)" userId="80e062e1-fdb8-46de-bee5-a3166786e341" providerId="ADAL" clId="{361A56D1-2B90-4FC3-A936-DAD77D68E8CE}" dt="2022-12-13T13:21:53.620" v="349" actId="165"/>
          <ac:picMkLst>
            <pc:docMk/>
            <pc:sldMk cId="2615612162" sldId="320"/>
            <ac:picMk id="43" creationId="{BE9EAB4F-B25F-465B-8BE8-85F4B3A482B7}"/>
          </ac:picMkLst>
        </pc:picChg>
        <pc:picChg chg="mod">
          <ac:chgData name="Karanth, Suhas (Allianz SE)" userId="80e062e1-fdb8-46de-bee5-a3166786e341" providerId="ADAL" clId="{361A56D1-2B90-4FC3-A936-DAD77D68E8CE}" dt="2022-12-13T13:21:55.010" v="350" actId="165"/>
          <ac:picMkLst>
            <pc:docMk/>
            <pc:sldMk cId="2615612162" sldId="320"/>
            <ac:picMk id="50" creationId="{A692B7CA-5621-4EA5-ABD3-7CF2E33668B0}"/>
          </ac:picMkLst>
        </pc:picChg>
        <pc:picChg chg="mod">
          <ac:chgData name="Karanth, Suhas (Allianz SE)" userId="80e062e1-fdb8-46de-bee5-a3166786e341" providerId="ADAL" clId="{361A56D1-2B90-4FC3-A936-DAD77D68E8CE}" dt="2022-12-13T13:21:56.197" v="351" actId="165"/>
          <ac:picMkLst>
            <pc:docMk/>
            <pc:sldMk cId="2615612162" sldId="320"/>
            <ac:picMk id="57" creationId="{B2E1C1A2-0C57-47DA-8380-4FB24CF48C2A}"/>
          </ac:picMkLst>
        </pc:picChg>
        <pc:picChg chg="mod">
          <ac:chgData name="Karanth, Suhas (Allianz SE)" userId="80e062e1-fdb8-46de-bee5-a3166786e341" providerId="ADAL" clId="{361A56D1-2B90-4FC3-A936-DAD77D68E8CE}" dt="2022-12-13T13:21:57.643" v="352" actId="165"/>
          <ac:picMkLst>
            <pc:docMk/>
            <pc:sldMk cId="2615612162" sldId="320"/>
            <ac:picMk id="64" creationId="{F53E5927-B635-4CC5-BED8-37BF9E6590D6}"/>
          </ac:picMkLst>
        </pc:picChg>
        <pc:picChg chg="mod">
          <ac:chgData name="Karanth, Suhas (Allianz SE)" userId="80e062e1-fdb8-46de-bee5-a3166786e341" providerId="ADAL" clId="{361A56D1-2B90-4FC3-A936-DAD77D68E8CE}" dt="2022-12-13T13:21:52.260" v="348" actId="165"/>
          <ac:picMkLst>
            <pc:docMk/>
            <pc:sldMk cId="2615612162" sldId="320"/>
            <ac:picMk id="71" creationId="{B5013717-C960-4EFD-95AC-FF5FAAE0499B}"/>
          </ac:picMkLst>
        </pc:picChg>
        <pc:picChg chg="mod">
          <ac:chgData name="Karanth, Suhas (Allianz SE)" userId="80e062e1-fdb8-46de-bee5-a3166786e341" providerId="ADAL" clId="{361A56D1-2B90-4FC3-A936-DAD77D68E8CE}" dt="2022-12-13T13:22:52.473" v="396" actId="165"/>
          <ac:picMkLst>
            <pc:docMk/>
            <pc:sldMk cId="2615612162" sldId="320"/>
            <ac:picMk id="80" creationId="{22B7AB1C-71AB-4F9C-ACF1-8F3550F76BE6}"/>
          </ac:picMkLst>
        </pc:picChg>
        <pc:picChg chg="mod">
          <ac:chgData name="Karanth, Suhas (Allianz SE)" userId="80e062e1-fdb8-46de-bee5-a3166786e341" providerId="ADAL" clId="{361A56D1-2B90-4FC3-A936-DAD77D68E8CE}" dt="2022-12-13T13:22:54.945" v="397" actId="165"/>
          <ac:picMkLst>
            <pc:docMk/>
            <pc:sldMk cId="2615612162" sldId="320"/>
            <ac:picMk id="87" creationId="{4206AFF0-D3ED-4CD8-BFE0-B245AAE9A6C3}"/>
          </ac:picMkLst>
        </pc:picChg>
        <pc:picChg chg="mod">
          <ac:chgData name="Karanth, Suhas (Allianz SE)" userId="80e062e1-fdb8-46de-bee5-a3166786e341" providerId="ADAL" clId="{361A56D1-2B90-4FC3-A936-DAD77D68E8CE}" dt="2022-12-13T13:22:50.726" v="395" actId="165"/>
          <ac:picMkLst>
            <pc:docMk/>
            <pc:sldMk cId="2615612162" sldId="320"/>
            <ac:picMk id="94" creationId="{84C0E4C0-B4A7-43E2-895F-386199A6CAAE}"/>
          </ac:picMkLst>
        </pc:picChg>
      </pc:sldChg>
      <pc:sldChg chg="modSp mod">
        <pc:chgData name="Karanth, Suhas (Allianz SE)" userId="80e062e1-fdb8-46de-bee5-a3166786e341" providerId="ADAL" clId="{361A56D1-2B90-4FC3-A936-DAD77D68E8CE}" dt="2022-12-13T13:27:31.579" v="477" actId="20577"/>
        <pc:sldMkLst>
          <pc:docMk/>
          <pc:sldMk cId="1673016897" sldId="322"/>
        </pc:sldMkLst>
        <pc:spChg chg="mod">
          <ac:chgData name="Karanth, Suhas (Allianz SE)" userId="80e062e1-fdb8-46de-bee5-a3166786e341" providerId="ADAL" clId="{361A56D1-2B90-4FC3-A936-DAD77D68E8CE}" dt="2022-12-13T13:26:53.328" v="476" actId="20577"/>
          <ac:spMkLst>
            <pc:docMk/>
            <pc:sldMk cId="1673016897" sldId="322"/>
            <ac:spMk id="6" creationId="{F4A817E4-52F2-465E-B6BF-E8C669B80413}"/>
          </ac:spMkLst>
        </pc:spChg>
        <pc:spChg chg="mod">
          <ac:chgData name="Karanth, Suhas (Allianz SE)" userId="80e062e1-fdb8-46de-bee5-a3166786e341" providerId="ADAL" clId="{361A56D1-2B90-4FC3-A936-DAD77D68E8CE}" dt="2022-12-13T13:27:31.579" v="477" actId="20577"/>
          <ac:spMkLst>
            <pc:docMk/>
            <pc:sldMk cId="1673016897" sldId="322"/>
            <ac:spMk id="7" creationId="{48C1550A-2F41-4FBE-AB88-F739E650F224}"/>
          </ac:spMkLst>
        </pc:spChg>
      </pc:sldChg>
      <pc:sldChg chg="ord">
        <pc:chgData name="Karanth, Suhas (Allianz SE)" userId="80e062e1-fdb8-46de-bee5-a3166786e341" providerId="ADAL" clId="{361A56D1-2B90-4FC3-A936-DAD77D68E8CE}" dt="2022-12-13T13:26:33.880" v="466"/>
        <pc:sldMkLst>
          <pc:docMk/>
          <pc:sldMk cId="2336342226" sldId="2147474839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130873753" sldId="2147474841"/>
        </pc:sldMkLst>
      </pc:sldChg>
      <pc:sldChg chg="delSp del mod">
        <pc:chgData name="Karanth, Suhas (Allianz SE)" userId="80e062e1-fdb8-46de-bee5-a3166786e341" providerId="ADAL" clId="{361A56D1-2B90-4FC3-A936-DAD77D68E8CE}" dt="2022-12-13T13:23:31.846" v="399" actId="47"/>
        <pc:sldMkLst>
          <pc:docMk/>
          <pc:sldMk cId="2139737681" sldId="2147474842"/>
        </pc:sldMkLst>
        <pc:grpChg chg="del">
          <ac:chgData name="Karanth, Suhas (Allianz SE)" userId="80e062e1-fdb8-46de-bee5-a3166786e341" providerId="ADAL" clId="{361A56D1-2B90-4FC3-A936-DAD77D68E8CE}" dt="2022-12-13T13:22:35.664" v="392" actId="21"/>
          <ac:grpSpMkLst>
            <pc:docMk/>
            <pc:sldMk cId="2139737681" sldId="2147474842"/>
            <ac:grpSpMk id="3" creationId="{CE03D6A0-5084-4726-8B3D-E7D522E908CF}"/>
          </ac:grpSpMkLst>
        </pc:grpChg>
        <pc:grpChg chg="del">
          <ac:chgData name="Karanth, Suhas (Allianz SE)" userId="80e062e1-fdb8-46de-bee5-a3166786e341" providerId="ADAL" clId="{361A56D1-2B90-4FC3-A936-DAD77D68E8CE}" dt="2022-12-13T13:22:35.664" v="392" actId="21"/>
          <ac:grpSpMkLst>
            <pc:docMk/>
            <pc:sldMk cId="2139737681" sldId="2147474842"/>
            <ac:grpSpMk id="4" creationId="{55983BAA-F226-470E-9470-C02A86D0E447}"/>
          </ac:grpSpMkLst>
        </pc:grpChg>
        <pc:grpChg chg="del">
          <ac:chgData name="Karanth, Suhas (Allianz SE)" userId="80e062e1-fdb8-46de-bee5-a3166786e341" providerId="ADAL" clId="{361A56D1-2B90-4FC3-A936-DAD77D68E8CE}" dt="2022-12-13T13:22:35.664" v="392" actId="21"/>
          <ac:grpSpMkLst>
            <pc:docMk/>
            <pc:sldMk cId="2139737681" sldId="2147474842"/>
            <ac:grpSpMk id="26" creationId="{E6F9E77F-2572-45DF-B93A-C8552598735F}"/>
          </ac:grpSpMkLst>
        </pc:grpChg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958813429" sldId="2147474845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2264720345" sldId="2147474846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830826902" sldId="2147474847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550394159" sldId="2147474848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4210549377" sldId="2147474850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780318381" sldId="2147474851"/>
        </pc:sldMkLst>
      </pc:sldChg>
      <pc:sldChg chg="modSp mod">
        <pc:chgData name="Karanth, Suhas (Allianz SE)" userId="80e062e1-fdb8-46de-bee5-a3166786e341" providerId="ADAL" clId="{361A56D1-2B90-4FC3-A936-DAD77D68E8CE}" dt="2023-01-10T09:44:45.483" v="1318" actId="13926"/>
        <pc:sldMkLst>
          <pc:docMk/>
          <pc:sldMk cId="855868122" sldId="2147474858"/>
        </pc:sldMkLst>
        <pc:spChg chg="mod">
          <ac:chgData name="Karanth, Suhas (Allianz SE)" userId="80e062e1-fdb8-46de-bee5-a3166786e341" providerId="ADAL" clId="{361A56D1-2B90-4FC3-A936-DAD77D68E8CE}" dt="2023-01-10T09:44:45.483" v="1318" actId="13926"/>
          <ac:spMkLst>
            <pc:docMk/>
            <pc:sldMk cId="855868122" sldId="2147474858"/>
            <ac:spMk id="4" creationId="{571DA361-F295-4A02-AACD-9F33E2E1298F}"/>
          </ac:spMkLst>
        </pc:spChg>
        <pc:graphicFrameChg chg="modGraphic">
          <ac:chgData name="Karanth, Suhas (Allianz SE)" userId="80e062e1-fdb8-46de-bee5-a3166786e341" providerId="ADAL" clId="{361A56D1-2B90-4FC3-A936-DAD77D68E8CE}" dt="2022-12-14T12:50:21.301" v="1149" actId="20577"/>
          <ac:graphicFrameMkLst>
            <pc:docMk/>
            <pc:sldMk cId="855868122" sldId="2147474858"/>
            <ac:graphicFrameMk id="5" creationId="{3877C3CE-934F-4705-8FDF-61188B09469C}"/>
          </ac:graphicFrameMkLst>
        </pc:graphicFrameChg>
      </pc:sldChg>
      <pc:sldChg chg="modSp mod">
        <pc:chgData name="Karanth, Suhas (Allianz SE)" userId="80e062e1-fdb8-46de-bee5-a3166786e341" providerId="ADAL" clId="{361A56D1-2B90-4FC3-A936-DAD77D68E8CE}" dt="2022-12-14T12:34:00.201" v="1060" actId="20577"/>
        <pc:sldMkLst>
          <pc:docMk/>
          <pc:sldMk cId="350399327" sldId="2147474859"/>
        </pc:sldMkLst>
        <pc:spChg chg="mod">
          <ac:chgData name="Karanth, Suhas (Allianz SE)" userId="80e062e1-fdb8-46de-bee5-a3166786e341" providerId="ADAL" clId="{361A56D1-2B90-4FC3-A936-DAD77D68E8CE}" dt="2022-12-14T12:34:00.201" v="1060" actId="20577"/>
          <ac:spMkLst>
            <pc:docMk/>
            <pc:sldMk cId="350399327" sldId="2147474859"/>
            <ac:spMk id="4" creationId="{1826F763-6700-4515-AB67-EBB18B9F62E3}"/>
          </ac:spMkLst>
        </pc:spChg>
      </pc:sldChg>
      <pc:sldChg chg="addSp delSp modSp del mod">
        <pc:chgData name="Karanth, Suhas (Allianz SE)" userId="80e062e1-fdb8-46de-bee5-a3166786e341" providerId="ADAL" clId="{361A56D1-2B90-4FC3-A936-DAD77D68E8CE}" dt="2022-12-13T13:07:27.473" v="130" actId="2696"/>
        <pc:sldMkLst>
          <pc:docMk/>
          <pc:sldMk cId="155979119" sldId="2147474860"/>
        </pc:sldMkLst>
        <pc:spChg chg="del">
          <ac:chgData name="Karanth, Suhas (Allianz SE)" userId="80e062e1-fdb8-46de-bee5-a3166786e341" providerId="ADAL" clId="{361A56D1-2B90-4FC3-A936-DAD77D68E8CE}" dt="2022-12-13T12:53:43.015" v="0" actId="931"/>
          <ac:spMkLst>
            <pc:docMk/>
            <pc:sldMk cId="155979119" sldId="2147474860"/>
            <ac:spMk id="4" creationId="{0778885B-71F3-47BC-8B32-C49AA828C570}"/>
          </ac:spMkLst>
        </pc:spChg>
        <pc:picChg chg="add mod">
          <ac:chgData name="Karanth, Suhas (Allianz SE)" userId="80e062e1-fdb8-46de-bee5-a3166786e341" providerId="ADAL" clId="{361A56D1-2B90-4FC3-A936-DAD77D68E8CE}" dt="2022-12-13T12:58:46.177" v="119" actId="1076"/>
          <ac:picMkLst>
            <pc:docMk/>
            <pc:sldMk cId="155979119" sldId="2147474860"/>
            <ac:picMk id="6" creationId="{C5A5A7D5-CF3B-4559-A93A-B84088E7C1F3}"/>
          </ac:picMkLst>
        </pc:picChg>
        <pc:picChg chg="add mod">
          <ac:chgData name="Karanth, Suhas (Allianz SE)" userId="80e062e1-fdb8-46de-bee5-a3166786e341" providerId="ADAL" clId="{361A56D1-2B90-4FC3-A936-DAD77D68E8CE}" dt="2022-12-13T12:58:39.640" v="117" actId="1076"/>
          <ac:picMkLst>
            <pc:docMk/>
            <pc:sldMk cId="155979119" sldId="2147474860"/>
            <ac:picMk id="8" creationId="{DAE15609-E593-45F2-B259-D0E09D6EB08C}"/>
          </ac:picMkLst>
        </pc:picChg>
        <pc:picChg chg="add mod">
          <ac:chgData name="Karanth, Suhas (Allianz SE)" userId="80e062e1-fdb8-46de-bee5-a3166786e341" providerId="ADAL" clId="{361A56D1-2B90-4FC3-A936-DAD77D68E8CE}" dt="2022-12-13T12:58:40.911" v="118" actId="1076"/>
          <ac:picMkLst>
            <pc:docMk/>
            <pc:sldMk cId="155979119" sldId="2147474860"/>
            <ac:picMk id="10" creationId="{8E36B38D-CD8B-435D-A40A-C82EC6685C68}"/>
          </ac:picMkLst>
        </pc:picChg>
        <pc:picChg chg="add mod">
          <ac:chgData name="Karanth, Suhas (Allianz SE)" userId="80e062e1-fdb8-46de-bee5-a3166786e341" providerId="ADAL" clId="{361A56D1-2B90-4FC3-A936-DAD77D68E8CE}" dt="2022-12-13T12:58:28.550" v="113" actId="1076"/>
          <ac:picMkLst>
            <pc:docMk/>
            <pc:sldMk cId="155979119" sldId="2147474860"/>
            <ac:picMk id="12" creationId="{1531874B-D167-4152-BA5C-BC740B43B81F}"/>
          </ac:picMkLst>
        </pc:picChg>
        <pc:picChg chg="add mod">
          <ac:chgData name="Karanth, Suhas (Allianz SE)" userId="80e062e1-fdb8-46de-bee5-a3166786e341" providerId="ADAL" clId="{361A56D1-2B90-4FC3-A936-DAD77D68E8CE}" dt="2022-12-13T12:58:30.815" v="114" actId="1076"/>
          <ac:picMkLst>
            <pc:docMk/>
            <pc:sldMk cId="155979119" sldId="2147474860"/>
            <ac:picMk id="14" creationId="{A278D84D-D951-4F2A-A339-578E9AECA070}"/>
          </ac:picMkLst>
        </pc:picChg>
        <pc:picChg chg="add mod">
          <ac:chgData name="Karanth, Suhas (Allianz SE)" userId="80e062e1-fdb8-46de-bee5-a3166786e341" providerId="ADAL" clId="{361A56D1-2B90-4FC3-A936-DAD77D68E8CE}" dt="2022-12-13T12:58:32.735" v="115" actId="1076"/>
          <ac:picMkLst>
            <pc:docMk/>
            <pc:sldMk cId="155979119" sldId="2147474860"/>
            <ac:picMk id="16" creationId="{106CBF93-FF16-4BF3-ABDB-53400E3825C1}"/>
          </ac:picMkLst>
        </pc:picChg>
        <pc:picChg chg="add mod">
          <ac:chgData name="Karanth, Suhas (Allianz SE)" userId="80e062e1-fdb8-46de-bee5-a3166786e341" providerId="ADAL" clId="{361A56D1-2B90-4FC3-A936-DAD77D68E8CE}" dt="2022-12-13T12:54:35.746" v="39" actId="1038"/>
          <ac:picMkLst>
            <pc:docMk/>
            <pc:sldMk cId="155979119" sldId="2147474860"/>
            <ac:picMk id="18" creationId="{E2E84789-D3AB-4B8D-88B2-66307EB7F3AA}"/>
          </ac:picMkLst>
        </pc:picChg>
      </pc:sldChg>
      <pc:sldChg chg="modSp add mod">
        <pc:chgData name="Karanth, Suhas (Allianz SE)" userId="80e062e1-fdb8-46de-bee5-a3166786e341" providerId="ADAL" clId="{361A56D1-2B90-4FC3-A936-DAD77D68E8CE}" dt="2022-12-13T13:10:41.574" v="204" actId="20577"/>
        <pc:sldMkLst>
          <pc:docMk/>
          <pc:sldMk cId="3080553895" sldId="2147474861"/>
        </pc:sldMkLst>
        <pc:spChg chg="mod">
          <ac:chgData name="Karanth, Suhas (Allianz SE)" userId="80e062e1-fdb8-46de-bee5-a3166786e341" providerId="ADAL" clId="{361A56D1-2B90-4FC3-A936-DAD77D68E8CE}" dt="2022-12-13T13:10:41.574" v="204" actId="20577"/>
          <ac:spMkLst>
            <pc:docMk/>
            <pc:sldMk cId="3080553895" sldId="2147474861"/>
            <ac:spMk id="3" creationId="{79D18386-D41B-4EDC-AD50-873AFB55DAA8}"/>
          </ac:spMkLst>
        </pc:spChg>
        <pc:picChg chg="mod ord">
          <ac:chgData name="Karanth, Suhas (Allianz SE)" userId="80e062e1-fdb8-46de-bee5-a3166786e341" providerId="ADAL" clId="{361A56D1-2B90-4FC3-A936-DAD77D68E8CE}" dt="2022-12-13T12:59:54.765" v="129" actId="166"/>
          <ac:picMkLst>
            <pc:docMk/>
            <pc:sldMk cId="3080553895" sldId="2147474861"/>
            <ac:picMk id="6" creationId="{C5A5A7D5-CF3B-4559-A93A-B84088E7C1F3}"/>
          </ac:picMkLst>
        </pc:picChg>
        <pc:picChg chg="mod ord">
          <ac:chgData name="Karanth, Suhas (Allianz SE)" userId="80e062e1-fdb8-46de-bee5-a3166786e341" providerId="ADAL" clId="{361A56D1-2B90-4FC3-A936-DAD77D68E8CE}" dt="2022-12-13T12:59:52.391" v="128" actId="166"/>
          <ac:picMkLst>
            <pc:docMk/>
            <pc:sldMk cId="3080553895" sldId="2147474861"/>
            <ac:picMk id="8" creationId="{DAE15609-E593-45F2-B259-D0E09D6EB08C}"/>
          </ac:picMkLst>
        </pc:picChg>
        <pc:picChg chg="ord">
          <ac:chgData name="Karanth, Suhas (Allianz SE)" userId="80e062e1-fdb8-46de-bee5-a3166786e341" providerId="ADAL" clId="{361A56D1-2B90-4FC3-A936-DAD77D68E8CE}" dt="2022-12-13T12:59:49.884" v="127" actId="166"/>
          <ac:picMkLst>
            <pc:docMk/>
            <pc:sldMk cId="3080553895" sldId="2147474861"/>
            <ac:picMk id="10" creationId="{8E36B38D-CD8B-435D-A40A-C82EC6685C68}"/>
          </ac:picMkLst>
        </pc:picChg>
        <pc:picChg chg="mod">
          <ac:chgData name="Karanth, Suhas (Allianz SE)" userId="80e062e1-fdb8-46de-bee5-a3166786e341" providerId="ADAL" clId="{361A56D1-2B90-4FC3-A936-DAD77D68E8CE}" dt="2022-12-13T12:59:13.752" v="124" actId="1076"/>
          <ac:picMkLst>
            <pc:docMk/>
            <pc:sldMk cId="3080553895" sldId="2147474861"/>
            <ac:picMk id="12" creationId="{1531874B-D167-4152-BA5C-BC740B43B81F}"/>
          </ac:picMkLst>
        </pc:picChg>
        <pc:picChg chg="mod">
          <ac:chgData name="Karanth, Suhas (Allianz SE)" userId="80e062e1-fdb8-46de-bee5-a3166786e341" providerId="ADAL" clId="{361A56D1-2B90-4FC3-A936-DAD77D68E8CE}" dt="2022-12-13T12:59:09.959" v="122" actId="1076"/>
          <ac:picMkLst>
            <pc:docMk/>
            <pc:sldMk cId="3080553895" sldId="2147474861"/>
            <ac:picMk id="14" creationId="{A278D84D-D951-4F2A-A339-578E9AECA070}"/>
          </ac:picMkLst>
        </pc:picChg>
        <pc:picChg chg="mod">
          <ac:chgData name="Karanth, Suhas (Allianz SE)" userId="80e062e1-fdb8-46de-bee5-a3166786e341" providerId="ADAL" clId="{361A56D1-2B90-4FC3-A936-DAD77D68E8CE}" dt="2022-12-13T12:59:11.968" v="123" actId="1076"/>
          <ac:picMkLst>
            <pc:docMk/>
            <pc:sldMk cId="3080553895" sldId="2147474861"/>
            <ac:picMk id="16" creationId="{106CBF93-FF16-4BF3-ABDB-53400E3825C1}"/>
          </ac:picMkLst>
        </pc:picChg>
      </pc:sldChg>
      <pc:sldChg chg="addSp delSp modSp new mod">
        <pc:chgData name="Karanth, Suhas (Allianz SE)" userId="80e062e1-fdb8-46de-bee5-a3166786e341" providerId="ADAL" clId="{361A56D1-2B90-4FC3-A936-DAD77D68E8CE}" dt="2022-12-14T12:35:21.425" v="1138" actId="1076"/>
        <pc:sldMkLst>
          <pc:docMk/>
          <pc:sldMk cId="40809487" sldId="2147474862"/>
        </pc:sldMkLst>
        <pc:spChg chg="mod">
          <ac:chgData name="Karanth, Suhas (Allianz SE)" userId="80e062e1-fdb8-46de-bee5-a3166786e341" providerId="ADAL" clId="{361A56D1-2B90-4FC3-A936-DAD77D68E8CE}" dt="2022-12-13T13:11:01.334" v="238" actId="20577"/>
          <ac:spMkLst>
            <pc:docMk/>
            <pc:sldMk cId="40809487" sldId="2147474862"/>
            <ac:spMk id="3" creationId="{89ACE5FE-C1C9-4B12-B44A-18BB32BDFC10}"/>
          </ac:spMkLst>
        </pc:spChg>
        <pc:spChg chg="del">
          <ac:chgData name="Karanth, Suhas (Allianz SE)" userId="80e062e1-fdb8-46de-bee5-a3166786e341" providerId="ADAL" clId="{361A56D1-2B90-4FC3-A936-DAD77D68E8CE}" dt="2022-12-13T13:12:38.798" v="239" actId="931"/>
          <ac:spMkLst>
            <pc:docMk/>
            <pc:sldMk cId="40809487" sldId="2147474862"/>
            <ac:spMk id="4" creationId="{6A4354C3-B1C4-4520-9DDC-E17481314D53}"/>
          </ac:spMkLst>
        </pc:spChg>
        <pc:spChg chg="add mod">
          <ac:chgData name="Karanth, Suhas (Allianz SE)" userId="80e062e1-fdb8-46de-bee5-a3166786e341" providerId="ADAL" clId="{361A56D1-2B90-4FC3-A936-DAD77D68E8CE}" dt="2022-12-14T12:35:17.552" v="1137" actId="20577"/>
          <ac:spMkLst>
            <pc:docMk/>
            <pc:sldMk cId="40809487" sldId="2147474862"/>
            <ac:spMk id="4" creationId="{927C0C09-D2E3-4B94-9204-1374B321F67A}"/>
          </ac:spMkLst>
        </pc:spChg>
        <pc:picChg chg="add mod">
          <ac:chgData name="Karanth, Suhas (Allianz SE)" userId="80e062e1-fdb8-46de-bee5-a3166786e341" providerId="ADAL" clId="{361A56D1-2B90-4FC3-A936-DAD77D68E8CE}" dt="2022-12-14T12:35:21.425" v="1138" actId="1076"/>
          <ac:picMkLst>
            <pc:docMk/>
            <pc:sldMk cId="40809487" sldId="2147474862"/>
            <ac:picMk id="6" creationId="{F3DBC7F4-2B98-4F04-8420-F91C69EB1DCE}"/>
          </ac:picMkLst>
        </pc:picChg>
        <pc:picChg chg="add mod">
          <ac:chgData name="Karanth, Suhas (Allianz SE)" userId="80e062e1-fdb8-46de-bee5-a3166786e341" providerId="ADAL" clId="{361A56D1-2B90-4FC3-A936-DAD77D68E8CE}" dt="2022-12-13T13:16:08.994" v="336" actId="208"/>
          <ac:picMkLst>
            <pc:docMk/>
            <pc:sldMk cId="40809487" sldId="2147474862"/>
            <ac:picMk id="8" creationId="{B5152323-D4AF-4952-BD27-7E167DF02099}"/>
          </ac:picMkLst>
        </pc:picChg>
        <pc:picChg chg="add mod">
          <ac:chgData name="Karanth, Suhas (Allianz SE)" userId="80e062e1-fdb8-46de-bee5-a3166786e341" providerId="ADAL" clId="{361A56D1-2B90-4FC3-A936-DAD77D68E8CE}" dt="2022-12-13T13:16:08.994" v="336" actId="208"/>
          <ac:picMkLst>
            <pc:docMk/>
            <pc:sldMk cId="40809487" sldId="2147474862"/>
            <ac:picMk id="10" creationId="{33215DAC-0B91-4AE9-8B8C-F53C913D4FA7}"/>
          </ac:picMkLst>
        </pc:picChg>
      </pc:sldChg>
      <pc:sldChg chg="addSp modSp add mod">
        <pc:chgData name="Karanth, Suhas (Allianz SE)" userId="80e062e1-fdb8-46de-bee5-a3166786e341" providerId="ADAL" clId="{361A56D1-2B90-4FC3-A936-DAD77D68E8CE}" dt="2022-12-13T13:48:20.864" v="518" actId="20577"/>
        <pc:sldMkLst>
          <pc:docMk/>
          <pc:sldMk cId="2535056560" sldId="2147474863"/>
        </pc:sldMkLst>
        <pc:spChg chg="mod">
          <ac:chgData name="Karanth, Suhas (Allianz SE)" userId="80e062e1-fdb8-46de-bee5-a3166786e341" providerId="ADAL" clId="{361A56D1-2B90-4FC3-A936-DAD77D68E8CE}" dt="2022-12-13T13:41:15.927" v="479" actId="1076"/>
          <ac:spMkLst>
            <pc:docMk/>
            <pc:sldMk cId="2535056560" sldId="2147474863"/>
            <ac:spMk id="7" creationId="{48C1550A-2F41-4FBE-AB88-F739E650F224}"/>
          </ac:spMkLst>
        </pc:spChg>
        <pc:graphicFrameChg chg="add mod modGraphic">
          <ac:chgData name="Karanth, Suhas (Allianz SE)" userId="80e062e1-fdb8-46de-bee5-a3166786e341" providerId="ADAL" clId="{361A56D1-2B90-4FC3-A936-DAD77D68E8CE}" dt="2022-12-13T13:48:20.864" v="518" actId="20577"/>
          <ac:graphicFrameMkLst>
            <pc:docMk/>
            <pc:sldMk cId="2535056560" sldId="2147474863"/>
            <ac:graphicFrameMk id="2" creationId="{10DA3126-5AE2-4556-82F1-84DB3B02E3AD}"/>
          </ac:graphicFrameMkLst>
        </pc:graphicFrameChg>
      </pc:sldChg>
      <pc:sldChg chg="modSp mod">
        <pc:chgData name="Karanth, Suhas (Allianz SE)" userId="80e062e1-fdb8-46de-bee5-a3166786e341" providerId="ADAL" clId="{361A56D1-2B90-4FC3-A936-DAD77D68E8CE}" dt="2023-01-10T10:11:53.678" v="1342" actId="20577"/>
        <pc:sldMkLst>
          <pc:docMk/>
          <pc:sldMk cId="2704156487" sldId="2147474863"/>
        </pc:sldMkLst>
        <pc:spChg chg="mod">
          <ac:chgData name="Karanth, Suhas (Allianz SE)" userId="80e062e1-fdb8-46de-bee5-a3166786e341" providerId="ADAL" clId="{361A56D1-2B90-4FC3-A936-DAD77D68E8CE}" dt="2023-01-10T10:11:53.678" v="1342" actId="20577"/>
          <ac:spMkLst>
            <pc:docMk/>
            <pc:sldMk cId="2704156487" sldId="2147474863"/>
            <ac:spMk id="3" creationId="{21257603-DCD1-7CD1-FDA0-5EFC1D66729E}"/>
          </ac:spMkLst>
        </pc:spChg>
        <pc:spChg chg="mod">
          <ac:chgData name="Karanth, Suhas (Allianz SE)" userId="80e062e1-fdb8-46de-bee5-a3166786e341" providerId="ADAL" clId="{361A56D1-2B90-4FC3-A936-DAD77D68E8CE}" dt="2023-01-09T13:12:52.352" v="1227" actId="21"/>
          <ac:spMkLst>
            <pc:docMk/>
            <pc:sldMk cId="2704156487" sldId="2147474863"/>
            <ac:spMk id="4" creationId="{F1198C50-2AD8-D98E-61BE-C03E08C11001}"/>
          </ac:spMkLst>
        </pc:spChg>
      </pc:sldChg>
      <pc:sldChg chg="modSp mod">
        <pc:chgData name="Karanth, Suhas (Allianz SE)" userId="80e062e1-fdb8-46de-bee5-a3166786e341" providerId="ADAL" clId="{361A56D1-2B90-4FC3-A936-DAD77D68E8CE}" dt="2022-12-14T12:55:33.403" v="1221" actId="20577"/>
        <pc:sldMkLst>
          <pc:docMk/>
          <pc:sldMk cId="2401395304" sldId="2147474865"/>
        </pc:sldMkLst>
        <pc:spChg chg="mod">
          <ac:chgData name="Karanth, Suhas (Allianz SE)" userId="80e062e1-fdb8-46de-bee5-a3166786e341" providerId="ADAL" clId="{361A56D1-2B90-4FC3-A936-DAD77D68E8CE}" dt="2022-12-14T12:55:33.403" v="1221" actId="20577"/>
          <ac:spMkLst>
            <pc:docMk/>
            <pc:sldMk cId="2401395304" sldId="2147474865"/>
            <ac:spMk id="3" creationId="{21257603-DCD1-7CD1-FDA0-5EFC1D66729E}"/>
          </ac:spMkLst>
        </pc:spChg>
      </pc:sldChg>
      <pc:sldChg chg="modSp mod">
        <pc:chgData name="Karanth, Suhas (Allianz SE)" userId="80e062e1-fdb8-46de-bee5-a3166786e341" providerId="ADAL" clId="{361A56D1-2B90-4FC3-A936-DAD77D68E8CE}" dt="2022-12-14T08:32:05.403" v="606" actId="20577"/>
        <pc:sldMkLst>
          <pc:docMk/>
          <pc:sldMk cId="2535056560" sldId="2147474866"/>
        </pc:sldMkLst>
        <pc:graphicFrameChg chg="mod modGraphic">
          <ac:chgData name="Karanth, Suhas (Allianz SE)" userId="80e062e1-fdb8-46de-bee5-a3166786e341" providerId="ADAL" clId="{361A56D1-2B90-4FC3-A936-DAD77D68E8CE}" dt="2022-12-14T08:31:13.863" v="590" actId="20577"/>
          <ac:graphicFrameMkLst>
            <pc:docMk/>
            <pc:sldMk cId="2535056560" sldId="2147474866"/>
            <ac:graphicFrameMk id="8" creationId="{41F609CE-E04B-B401-5EE3-E68005C562B7}"/>
          </ac:graphicFrameMkLst>
        </pc:graphicFrameChg>
        <pc:graphicFrameChg chg="mod modGraphic">
          <ac:chgData name="Karanth, Suhas (Allianz SE)" userId="80e062e1-fdb8-46de-bee5-a3166786e341" providerId="ADAL" clId="{361A56D1-2B90-4FC3-A936-DAD77D68E8CE}" dt="2022-12-14T08:32:05.403" v="606" actId="20577"/>
          <ac:graphicFrameMkLst>
            <pc:docMk/>
            <pc:sldMk cId="2535056560" sldId="2147474866"/>
            <ac:graphicFrameMk id="12" creationId="{E059C946-3976-955B-31BA-5DD01A6FC636}"/>
          </ac:graphicFrameMkLst>
        </pc:graphicFrameChg>
      </pc:sldChg>
      <pc:sldChg chg="addSp delSp modSp new mod ord">
        <pc:chgData name="Karanth, Suhas (Allianz SE)" userId="80e062e1-fdb8-46de-bee5-a3166786e341" providerId="ADAL" clId="{361A56D1-2B90-4FC3-A936-DAD77D68E8CE}" dt="2023-01-19T09:12:14.574" v="1373" actId="1037"/>
        <pc:sldMkLst>
          <pc:docMk/>
          <pc:sldMk cId="1663520743" sldId="2147474868"/>
        </pc:sldMkLst>
        <pc:spChg chg="mod">
          <ac:chgData name="Karanth, Suhas (Allianz SE)" userId="80e062e1-fdb8-46de-bee5-a3166786e341" providerId="ADAL" clId="{361A56D1-2B90-4FC3-A936-DAD77D68E8CE}" dt="2022-12-14T08:47:20.517" v="657" actId="20577"/>
          <ac:spMkLst>
            <pc:docMk/>
            <pc:sldMk cId="1663520743" sldId="2147474868"/>
            <ac:spMk id="3" creationId="{95A1E838-51DB-443A-BA89-E89FABD709BD}"/>
          </ac:spMkLst>
        </pc:spChg>
        <pc:spChg chg="del">
          <ac:chgData name="Karanth, Suhas (Allianz SE)" userId="80e062e1-fdb8-46de-bee5-a3166786e341" providerId="ADAL" clId="{361A56D1-2B90-4FC3-A936-DAD77D68E8CE}" dt="2022-12-13T14:42:18.535" v="520"/>
          <ac:spMkLst>
            <pc:docMk/>
            <pc:sldMk cId="1663520743" sldId="2147474868"/>
            <ac:spMk id="4" creationId="{521EE6F1-5A65-4EE2-B2B5-38081AFCB06F}"/>
          </ac:spMkLst>
        </pc:spChg>
        <pc:spChg chg="add del mod">
          <ac:chgData name="Karanth, Suhas (Allianz SE)" userId="80e062e1-fdb8-46de-bee5-a3166786e341" providerId="ADAL" clId="{361A56D1-2B90-4FC3-A936-DAD77D68E8CE}" dt="2022-12-14T10:00:13.064" v="982" actId="478"/>
          <ac:spMkLst>
            <pc:docMk/>
            <pc:sldMk cId="1663520743" sldId="2147474868"/>
            <ac:spMk id="6" creationId="{684D17B7-8C79-41D6-A9F3-5E1F6FDDEE4A}"/>
          </ac:spMkLst>
        </pc:spChg>
        <pc:spChg chg="add mod">
          <ac:chgData name="Karanth, Suhas (Allianz SE)" userId="80e062e1-fdb8-46de-bee5-a3166786e341" providerId="ADAL" clId="{361A56D1-2B90-4FC3-A936-DAD77D68E8CE}" dt="2022-12-13T14:42:24.108" v="521" actId="14100"/>
          <ac:spMkLst>
            <pc:docMk/>
            <pc:sldMk cId="1663520743" sldId="2147474868"/>
            <ac:spMk id="7" creationId="{8DE76C8B-3819-48D2-848F-9EB273EB4C4D}"/>
          </ac:spMkLst>
        </pc:spChg>
        <pc:spChg chg="add mod">
          <ac:chgData name="Karanth, Suhas (Allianz SE)" userId="80e062e1-fdb8-46de-bee5-a3166786e341" providerId="ADAL" clId="{361A56D1-2B90-4FC3-A936-DAD77D68E8CE}" dt="2022-12-13T14:42:24.108" v="521" actId="14100"/>
          <ac:spMkLst>
            <pc:docMk/>
            <pc:sldMk cId="1663520743" sldId="2147474868"/>
            <ac:spMk id="8" creationId="{9FBC040B-784C-4C66-9AAA-CC893960FEF8}"/>
          </ac:spMkLst>
        </pc:spChg>
        <pc:spChg chg="add mod">
          <ac:chgData name="Karanth, Suhas (Allianz SE)" userId="80e062e1-fdb8-46de-bee5-a3166786e341" providerId="ADAL" clId="{361A56D1-2B90-4FC3-A936-DAD77D68E8CE}" dt="2022-12-13T14:42:24.108" v="521" actId="14100"/>
          <ac:spMkLst>
            <pc:docMk/>
            <pc:sldMk cId="1663520743" sldId="2147474868"/>
            <ac:spMk id="9" creationId="{C8D46FCB-787B-41FB-A282-2A39AB5E3A16}"/>
          </ac:spMkLst>
        </pc:spChg>
        <pc:spChg chg="add mod">
          <ac:chgData name="Karanth, Suhas (Allianz SE)" userId="80e062e1-fdb8-46de-bee5-a3166786e341" providerId="ADAL" clId="{361A56D1-2B90-4FC3-A936-DAD77D68E8CE}" dt="2022-12-13T14:42:24.108" v="521" actId="14100"/>
          <ac:spMkLst>
            <pc:docMk/>
            <pc:sldMk cId="1663520743" sldId="2147474868"/>
            <ac:spMk id="10" creationId="{FB7E8001-F1E1-4851-9F2F-E9B42A152343}"/>
          </ac:spMkLst>
        </pc:spChg>
        <pc:spChg chg="add mod">
          <ac:chgData name="Karanth, Suhas (Allianz SE)" userId="80e062e1-fdb8-46de-bee5-a3166786e341" providerId="ADAL" clId="{361A56D1-2B90-4FC3-A936-DAD77D68E8CE}" dt="2022-12-13T14:42:24.108" v="521" actId="14100"/>
          <ac:spMkLst>
            <pc:docMk/>
            <pc:sldMk cId="1663520743" sldId="2147474868"/>
            <ac:spMk id="11" creationId="{C915673F-03DA-4588-9D9E-983D2B664065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3" creationId="{1E1D3FDB-5441-45DB-9FBF-F3B22918C619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4" creationId="{7C3B0C51-884F-410E-A852-FFE98999279C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5" creationId="{ED9C8F81-CEC9-4400-8EEF-5A01FBFB1F6A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6" creationId="{BDD568E3-9213-459B-A058-EC3820F5F880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7" creationId="{D27852A6-9400-42E5-832C-720F13B51F9E}"/>
          </ac:spMkLst>
        </pc:spChg>
        <pc:spChg chg="add del mod">
          <ac:chgData name="Karanth, Suhas (Allianz SE)" userId="80e062e1-fdb8-46de-bee5-a3166786e341" providerId="ADAL" clId="{361A56D1-2B90-4FC3-A936-DAD77D68E8CE}" dt="2022-12-13T14:42:59.974" v="525" actId="478"/>
          <ac:spMkLst>
            <pc:docMk/>
            <pc:sldMk cId="1663520743" sldId="2147474868"/>
            <ac:spMk id="18" creationId="{ADA6E175-2022-4CB7-9BBF-B5B966E5EF9F}"/>
          </ac:spMkLst>
        </pc:spChg>
        <pc:spChg chg="add del">
          <ac:chgData name="Karanth, Suhas (Allianz SE)" userId="80e062e1-fdb8-46de-bee5-a3166786e341" providerId="ADAL" clId="{361A56D1-2B90-4FC3-A936-DAD77D68E8CE}" dt="2022-12-14T08:47:25.891" v="659" actId="22"/>
          <ac:spMkLst>
            <pc:docMk/>
            <pc:sldMk cId="1663520743" sldId="2147474868"/>
            <ac:spMk id="20" creationId="{162FD2CD-C062-4443-BACF-3BA82D91773A}"/>
          </ac:spMkLst>
        </pc:spChg>
        <pc:spChg chg="add mod">
          <ac:chgData name="Karanth, Suhas (Allianz SE)" userId="80e062e1-fdb8-46de-bee5-a3166786e341" providerId="ADAL" clId="{361A56D1-2B90-4FC3-A936-DAD77D68E8CE}" dt="2022-12-14T08:48:32.707" v="709" actId="20577"/>
          <ac:spMkLst>
            <pc:docMk/>
            <pc:sldMk cId="1663520743" sldId="2147474868"/>
            <ac:spMk id="22" creationId="{70D8B6B7-CF32-4090-AD71-DEDBBB0BEADE}"/>
          </ac:spMkLst>
        </pc:spChg>
        <pc:graphicFrameChg chg="add del mod">
          <ac:chgData name="Karanth, Suhas (Allianz SE)" userId="80e062e1-fdb8-46de-bee5-a3166786e341" providerId="ADAL" clId="{361A56D1-2B90-4FC3-A936-DAD77D68E8CE}" dt="2022-12-14T08:47:37.057" v="660" actId="478"/>
          <ac:graphicFrameMkLst>
            <pc:docMk/>
            <pc:sldMk cId="1663520743" sldId="2147474868"/>
            <ac:graphicFrameMk id="5" creationId="{6F8EA858-70A1-4F26-9799-7EE47F280207}"/>
          </ac:graphicFrameMkLst>
        </pc:graphicFrameChg>
        <pc:graphicFrameChg chg="add del mod">
          <ac:chgData name="Karanth, Suhas (Allianz SE)" userId="80e062e1-fdb8-46de-bee5-a3166786e341" providerId="ADAL" clId="{361A56D1-2B90-4FC3-A936-DAD77D68E8CE}" dt="2022-12-13T14:42:59.974" v="525" actId="478"/>
          <ac:graphicFrameMkLst>
            <pc:docMk/>
            <pc:sldMk cId="1663520743" sldId="2147474868"/>
            <ac:graphicFrameMk id="12" creationId="{AEE665AB-0D8E-4F91-915F-B82D6C72A0B6}"/>
          </ac:graphicFrameMkLst>
        </pc:graphicFrameChg>
        <pc:graphicFrameChg chg="add del mod modGraphic">
          <ac:chgData name="Karanth, Suhas (Allianz SE)" userId="80e062e1-fdb8-46de-bee5-a3166786e341" providerId="ADAL" clId="{361A56D1-2B90-4FC3-A936-DAD77D68E8CE}" dt="2022-12-14T08:55:59.277" v="714" actId="478"/>
          <ac:graphicFrameMkLst>
            <pc:docMk/>
            <pc:sldMk cId="1663520743" sldId="2147474868"/>
            <ac:graphicFrameMk id="23" creationId="{5F86ABE8-D867-4CE9-9C69-FBB9725CE882}"/>
          </ac:graphicFrameMkLst>
        </pc:graphicFrameChg>
        <pc:graphicFrameChg chg="add del mod modGraphic">
          <ac:chgData name="Karanth, Suhas (Allianz SE)" userId="80e062e1-fdb8-46de-bee5-a3166786e341" providerId="ADAL" clId="{361A56D1-2B90-4FC3-A936-DAD77D68E8CE}" dt="2022-12-14T09:04:40.372" v="751" actId="21"/>
          <ac:graphicFrameMkLst>
            <pc:docMk/>
            <pc:sldMk cId="1663520743" sldId="2147474868"/>
            <ac:graphicFrameMk id="24" creationId="{ACD51CC8-7C46-4FD0-878F-1486A7D48F28}"/>
          </ac:graphicFrameMkLst>
        </pc:graphicFrameChg>
        <pc:graphicFrameChg chg="add del mod modGraphic">
          <ac:chgData name="Karanth, Suhas (Allianz SE)" userId="80e062e1-fdb8-46de-bee5-a3166786e341" providerId="ADAL" clId="{361A56D1-2B90-4FC3-A936-DAD77D68E8CE}" dt="2022-12-14T09:05:12.437" v="758" actId="21"/>
          <ac:graphicFrameMkLst>
            <pc:docMk/>
            <pc:sldMk cId="1663520743" sldId="2147474868"/>
            <ac:graphicFrameMk id="25" creationId="{744CC42C-B59E-4F0C-B3CE-4A2FA75A0088}"/>
          </ac:graphicFrameMkLst>
        </pc:graphicFrameChg>
        <pc:picChg chg="mod">
          <ac:chgData name="Karanth, Suhas (Allianz SE)" userId="80e062e1-fdb8-46de-bee5-a3166786e341" providerId="ADAL" clId="{361A56D1-2B90-4FC3-A936-DAD77D68E8CE}" dt="2023-01-19T09:12:14.574" v="1373" actId="1037"/>
          <ac:picMkLst>
            <pc:docMk/>
            <pc:sldMk cId="1663520743" sldId="2147474868"/>
            <ac:picMk id="4" creationId="{293B87EC-F983-693E-62B7-58E1E326D342}"/>
          </ac:picMkLst>
        </pc:picChg>
        <pc:picChg chg="mod">
          <ac:chgData name="Karanth, Suhas (Allianz SE)" userId="80e062e1-fdb8-46de-bee5-a3166786e341" providerId="ADAL" clId="{361A56D1-2B90-4FC3-A936-DAD77D68E8CE}" dt="2023-01-19T09:06:41.540" v="1369" actId="1037"/>
          <ac:picMkLst>
            <pc:docMk/>
            <pc:sldMk cId="1663520743" sldId="2147474868"/>
            <ac:picMk id="5" creationId="{DC616AFA-7AF9-05F1-F329-BF4B474B1948}"/>
          </ac:picMkLst>
        </pc:picChg>
      </pc:sldChg>
      <pc:sldChg chg="modSp mod">
        <pc:chgData name="Karanth, Suhas (Allianz SE)" userId="80e062e1-fdb8-46de-bee5-a3166786e341" providerId="ADAL" clId="{361A56D1-2B90-4FC3-A936-DAD77D68E8CE}" dt="2022-12-14T08:32:57.492" v="621" actId="255"/>
        <pc:sldMkLst>
          <pc:docMk/>
          <pc:sldMk cId="2395899290" sldId="2147474869"/>
        </pc:sldMkLst>
        <pc:graphicFrameChg chg="mod modGraphic">
          <ac:chgData name="Karanth, Suhas (Allianz SE)" userId="80e062e1-fdb8-46de-bee5-a3166786e341" providerId="ADAL" clId="{361A56D1-2B90-4FC3-A936-DAD77D68E8CE}" dt="2022-12-14T08:32:57.492" v="621" actId="255"/>
          <ac:graphicFrameMkLst>
            <pc:docMk/>
            <pc:sldMk cId="2395899290" sldId="2147474869"/>
            <ac:graphicFrameMk id="12" creationId="{E059C946-3976-955B-31BA-5DD01A6FC636}"/>
          </ac:graphicFrameMkLst>
        </pc:graphicFrameChg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279521211" sldId="2147474870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300464040" sldId="2147474871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3291848671" sldId="2147474872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1486284374" sldId="2147474873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845855465" sldId="2147474874"/>
        </pc:sldMkLst>
      </pc:sldChg>
      <pc:sldChg chg="ord">
        <pc:chgData name="Karanth, Suhas (Allianz SE)" userId="80e062e1-fdb8-46de-bee5-a3166786e341" providerId="ADAL" clId="{361A56D1-2B90-4FC3-A936-DAD77D68E8CE}" dt="2023-01-09T13:14:55.529" v="1257"/>
        <pc:sldMkLst>
          <pc:docMk/>
          <pc:sldMk cId="1138679192" sldId="2147474875"/>
        </pc:sldMkLst>
      </pc:sldChg>
      <pc:sldChg chg="addSp delSp modSp new mod">
        <pc:chgData name="Karanth, Suhas (Allianz SE)" userId="80e062e1-fdb8-46de-bee5-a3166786e341" providerId="ADAL" clId="{361A56D1-2B90-4FC3-A936-DAD77D68E8CE}" dt="2022-12-14T12:51:58.870" v="1166" actId="2166"/>
        <pc:sldMkLst>
          <pc:docMk/>
          <pc:sldMk cId="1531466322" sldId="2147474878"/>
        </pc:sldMkLst>
        <pc:spChg chg="mod">
          <ac:chgData name="Karanth, Suhas (Allianz SE)" userId="80e062e1-fdb8-46de-bee5-a3166786e341" providerId="ADAL" clId="{361A56D1-2B90-4FC3-A936-DAD77D68E8CE}" dt="2022-12-14T09:17:26.657" v="855" actId="20577"/>
          <ac:spMkLst>
            <pc:docMk/>
            <pc:sldMk cId="1531466322" sldId="2147474878"/>
            <ac:spMk id="3" creationId="{0B05DD17-CC18-4B92-B4EB-EA67A6817D41}"/>
          </ac:spMkLst>
        </pc:spChg>
        <pc:spChg chg="del">
          <ac:chgData name="Karanth, Suhas (Allianz SE)" userId="80e062e1-fdb8-46de-bee5-a3166786e341" providerId="ADAL" clId="{361A56D1-2B90-4FC3-A936-DAD77D68E8CE}" dt="2022-12-14T09:18:04.190" v="859" actId="478"/>
          <ac:spMkLst>
            <pc:docMk/>
            <pc:sldMk cId="1531466322" sldId="2147474878"/>
            <ac:spMk id="4" creationId="{D8143FFF-88C9-49A7-A135-F9ED2B8D9466}"/>
          </ac:spMkLst>
        </pc:spChg>
        <pc:graphicFrameChg chg="add mod modGraphic">
          <ac:chgData name="Karanth, Suhas (Allianz SE)" userId="80e062e1-fdb8-46de-bee5-a3166786e341" providerId="ADAL" clId="{361A56D1-2B90-4FC3-A936-DAD77D68E8CE}" dt="2022-12-14T12:51:16.448" v="1160" actId="2166"/>
          <ac:graphicFrameMkLst>
            <pc:docMk/>
            <pc:sldMk cId="1531466322" sldId="2147474878"/>
            <ac:graphicFrameMk id="5" creationId="{1834A664-A734-4537-A048-33BFC537DBBF}"/>
          </ac:graphicFrameMkLst>
        </pc:graphicFrameChg>
        <pc:graphicFrameChg chg="add mod modGraphic">
          <ac:chgData name="Karanth, Suhas (Allianz SE)" userId="80e062e1-fdb8-46de-bee5-a3166786e341" providerId="ADAL" clId="{361A56D1-2B90-4FC3-A936-DAD77D68E8CE}" dt="2022-12-14T12:51:58.870" v="1166" actId="2166"/>
          <ac:graphicFrameMkLst>
            <pc:docMk/>
            <pc:sldMk cId="1531466322" sldId="2147474878"/>
            <ac:graphicFrameMk id="6" creationId="{4CD7D9F3-0167-4FE9-9FE9-2D4FC2F35C8C}"/>
          </ac:graphicFrameMkLst>
        </pc:graphicFrameChg>
      </pc:sldChg>
      <pc:sldChg chg="addSp delSp modSp new mod">
        <pc:chgData name="Karanth, Suhas (Allianz SE)" userId="80e062e1-fdb8-46de-bee5-a3166786e341" providerId="ADAL" clId="{361A56D1-2B90-4FC3-A936-DAD77D68E8CE}" dt="2022-12-14T12:53:23.455" v="1190" actId="14734"/>
        <pc:sldMkLst>
          <pc:docMk/>
          <pc:sldMk cId="3694427098" sldId="2147474879"/>
        </pc:sldMkLst>
        <pc:spChg chg="mod">
          <ac:chgData name="Karanth, Suhas (Allianz SE)" userId="80e062e1-fdb8-46de-bee5-a3166786e341" providerId="ADAL" clId="{361A56D1-2B90-4FC3-A936-DAD77D68E8CE}" dt="2022-12-14T09:17:56.696" v="857"/>
          <ac:spMkLst>
            <pc:docMk/>
            <pc:sldMk cId="3694427098" sldId="2147474879"/>
            <ac:spMk id="3" creationId="{B02958E5-DE85-4596-89AC-21FC5C0794F9}"/>
          </ac:spMkLst>
        </pc:spChg>
        <pc:spChg chg="del">
          <ac:chgData name="Karanth, Suhas (Allianz SE)" userId="80e062e1-fdb8-46de-bee5-a3166786e341" providerId="ADAL" clId="{361A56D1-2B90-4FC3-A936-DAD77D68E8CE}" dt="2022-12-14T09:17:59.824" v="858" actId="478"/>
          <ac:spMkLst>
            <pc:docMk/>
            <pc:sldMk cId="3694427098" sldId="2147474879"/>
            <ac:spMk id="4" creationId="{B1C6762D-57F6-4B45-A3D8-5AA6EE45B372}"/>
          </ac:spMkLst>
        </pc:spChg>
        <pc:graphicFrameChg chg="add del mod modGraphic">
          <ac:chgData name="Karanth, Suhas (Allianz SE)" userId="80e062e1-fdb8-46de-bee5-a3166786e341" providerId="ADAL" clId="{361A56D1-2B90-4FC3-A936-DAD77D68E8CE}" dt="2022-12-14T09:22:18.103" v="880" actId="478"/>
          <ac:graphicFrameMkLst>
            <pc:docMk/>
            <pc:sldMk cId="3694427098" sldId="2147474879"/>
            <ac:graphicFrameMk id="5" creationId="{3BA82A21-B2C1-432D-88B1-34F33D434AC1}"/>
          </ac:graphicFrameMkLst>
        </pc:graphicFrameChg>
        <pc:graphicFrameChg chg="add mod modGraphic">
          <ac:chgData name="Karanth, Suhas (Allianz SE)" userId="80e062e1-fdb8-46de-bee5-a3166786e341" providerId="ADAL" clId="{361A56D1-2B90-4FC3-A936-DAD77D68E8CE}" dt="2022-12-14T12:52:37.436" v="1176" actId="20577"/>
          <ac:graphicFrameMkLst>
            <pc:docMk/>
            <pc:sldMk cId="3694427098" sldId="2147474879"/>
            <ac:graphicFrameMk id="6" creationId="{51486A95-39AF-466C-8EF7-6B37C1F7F89B}"/>
          </ac:graphicFrameMkLst>
        </pc:graphicFrameChg>
        <pc:graphicFrameChg chg="add mod modGraphic">
          <ac:chgData name="Karanth, Suhas (Allianz SE)" userId="80e062e1-fdb8-46de-bee5-a3166786e341" providerId="ADAL" clId="{361A56D1-2B90-4FC3-A936-DAD77D68E8CE}" dt="2022-12-14T12:53:23.455" v="1190" actId="14734"/>
          <ac:graphicFrameMkLst>
            <pc:docMk/>
            <pc:sldMk cId="3694427098" sldId="2147474879"/>
            <ac:graphicFrameMk id="7" creationId="{0BDD0686-C860-4073-B4F0-EC18DBF2FFDF}"/>
          </ac:graphicFrameMkLst>
        </pc:graphicFrameChg>
      </pc:sldChg>
      <pc:sldChg chg="modSp mod">
        <pc:chgData name="Karanth, Suhas (Allianz SE)" userId="80e062e1-fdb8-46de-bee5-a3166786e341" providerId="ADAL" clId="{361A56D1-2B90-4FC3-A936-DAD77D68E8CE}" dt="2023-01-10T10:10:49.674" v="1331" actId="14100"/>
        <pc:sldMkLst>
          <pc:docMk/>
          <pc:sldMk cId="1727248298" sldId="2147474881"/>
        </pc:sldMkLst>
        <pc:spChg chg="mod">
          <ac:chgData name="Karanth, Suhas (Allianz SE)" userId="80e062e1-fdb8-46de-bee5-a3166786e341" providerId="ADAL" clId="{361A56D1-2B90-4FC3-A936-DAD77D68E8CE}" dt="2023-01-10T10:10:49.674" v="1331" actId="14100"/>
          <ac:spMkLst>
            <pc:docMk/>
            <pc:sldMk cId="1727248298" sldId="2147474881"/>
            <ac:spMk id="3" creationId="{25E6BA69-C23D-43F2-9E3F-61617D63A104}"/>
          </ac:spMkLst>
        </pc:spChg>
        <pc:spChg chg="mod">
          <ac:chgData name="Karanth, Suhas (Allianz SE)" userId="80e062e1-fdb8-46de-bee5-a3166786e341" providerId="ADAL" clId="{361A56D1-2B90-4FC3-A936-DAD77D68E8CE}" dt="2022-12-14T12:33:06.151" v="1014" actId="20577"/>
          <ac:spMkLst>
            <pc:docMk/>
            <pc:sldMk cId="1727248298" sldId="2147474881"/>
            <ac:spMk id="4" creationId="{1826F763-6700-4515-AB67-EBB18B9F62E3}"/>
          </ac:spMkLst>
        </pc:spChg>
      </pc:sldChg>
      <pc:sldChg chg="ord">
        <pc:chgData name="Karanth, Suhas (Allianz SE)" userId="80e062e1-fdb8-46de-bee5-a3166786e341" providerId="ADAL" clId="{361A56D1-2B90-4FC3-A936-DAD77D68E8CE}" dt="2022-12-19T09:49:18.213" v="1226"/>
        <pc:sldMkLst>
          <pc:docMk/>
          <pc:sldMk cId="3181318554" sldId="2147474883"/>
        </pc:sldMkLst>
      </pc:sldChg>
      <pc:sldChg chg="modSp mod">
        <pc:chgData name="Karanth, Suhas (Allianz SE)" userId="80e062e1-fdb8-46de-bee5-a3166786e341" providerId="ADAL" clId="{361A56D1-2B90-4FC3-A936-DAD77D68E8CE}" dt="2022-12-15T11:41:07.199" v="1224" actId="1076"/>
        <pc:sldMkLst>
          <pc:docMk/>
          <pc:sldMk cId="4175557226" sldId="2147474888"/>
        </pc:sldMkLst>
        <pc:spChg chg="mod">
          <ac:chgData name="Karanth, Suhas (Allianz SE)" userId="80e062e1-fdb8-46de-bee5-a3166786e341" providerId="ADAL" clId="{361A56D1-2B90-4FC3-A936-DAD77D68E8CE}" dt="2022-12-15T11:41:07.199" v="1224" actId="1076"/>
          <ac:spMkLst>
            <pc:docMk/>
            <pc:sldMk cId="4175557226" sldId="2147474888"/>
            <ac:spMk id="9" creationId="{A3165181-A9C3-4869-A563-4486468D5665}"/>
          </ac:spMkLst>
        </pc:spChg>
      </pc:sldChg>
      <pc:sldChg chg="modSp mod">
        <pc:chgData name="Karanth, Suhas (Allianz SE)" userId="80e062e1-fdb8-46de-bee5-a3166786e341" providerId="ADAL" clId="{361A56D1-2B90-4FC3-A936-DAD77D68E8CE}" dt="2023-01-10T09:43:08.265" v="1283" actId="20577"/>
        <pc:sldMkLst>
          <pc:docMk/>
          <pc:sldMk cId="1360301573" sldId="2147474889"/>
        </pc:sldMkLst>
        <pc:spChg chg="mod">
          <ac:chgData name="Karanth, Suhas (Allianz SE)" userId="80e062e1-fdb8-46de-bee5-a3166786e341" providerId="ADAL" clId="{361A56D1-2B90-4FC3-A936-DAD77D68E8CE}" dt="2023-01-10T09:43:08.265" v="1283" actId="20577"/>
          <ac:spMkLst>
            <pc:docMk/>
            <pc:sldMk cId="1360301573" sldId="2147474889"/>
            <ac:spMk id="3" creationId="{79D18386-D41B-4EDC-AD50-873AFB55DAA8}"/>
          </ac:spMkLst>
        </pc:spChg>
      </pc:sldChg>
      <pc:sldChg chg="modSp mod">
        <pc:chgData name="Karanth, Suhas (Allianz SE)" userId="80e062e1-fdb8-46de-bee5-a3166786e341" providerId="ADAL" clId="{361A56D1-2B90-4FC3-A936-DAD77D68E8CE}" dt="2023-01-10T09:43:18.631" v="1284"/>
        <pc:sldMkLst>
          <pc:docMk/>
          <pc:sldMk cId="577090387" sldId="2147474892"/>
        </pc:sldMkLst>
        <pc:spChg chg="mod">
          <ac:chgData name="Karanth, Suhas (Allianz SE)" userId="80e062e1-fdb8-46de-bee5-a3166786e341" providerId="ADAL" clId="{361A56D1-2B90-4FC3-A936-DAD77D68E8CE}" dt="2023-01-10T09:43:18.631" v="1284"/>
          <ac:spMkLst>
            <pc:docMk/>
            <pc:sldMk cId="577090387" sldId="2147474892"/>
            <ac:spMk id="3" creationId="{79D18386-D41B-4EDC-AD50-873AFB55DAA8}"/>
          </ac:spMkLst>
        </pc:spChg>
      </pc:sldChg>
      <pc:sldChg chg="modSp mod">
        <pc:chgData name="Karanth, Suhas (Allianz SE)" userId="80e062e1-fdb8-46de-bee5-a3166786e341" providerId="ADAL" clId="{361A56D1-2B90-4FC3-A936-DAD77D68E8CE}" dt="2023-01-10T09:43:31.913" v="1305" actId="20577"/>
        <pc:sldMkLst>
          <pc:docMk/>
          <pc:sldMk cId="4100212379" sldId="2147474893"/>
        </pc:sldMkLst>
        <pc:spChg chg="mod">
          <ac:chgData name="Karanth, Suhas (Allianz SE)" userId="80e062e1-fdb8-46de-bee5-a3166786e341" providerId="ADAL" clId="{361A56D1-2B90-4FC3-A936-DAD77D68E8CE}" dt="2023-01-10T09:43:22.359" v="1285"/>
          <ac:spMkLst>
            <pc:docMk/>
            <pc:sldMk cId="4100212379" sldId="2147474893"/>
            <ac:spMk id="3" creationId="{79D18386-D41B-4EDC-AD50-873AFB55DAA8}"/>
          </ac:spMkLst>
        </pc:spChg>
        <pc:spChg chg="mod">
          <ac:chgData name="Karanth, Suhas (Allianz SE)" userId="80e062e1-fdb8-46de-bee5-a3166786e341" providerId="ADAL" clId="{361A56D1-2B90-4FC3-A936-DAD77D68E8CE}" dt="2023-01-10T09:43:31.913" v="1305" actId="20577"/>
          <ac:spMkLst>
            <pc:docMk/>
            <pc:sldMk cId="4100212379" sldId="2147474893"/>
            <ac:spMk id="12" creationId="{81529A3D-577A-7CF2-558C-625181CAC25D}"/>
          </ac:spMkLst>
        </pc:spChg>
      </pc:sldChg>
      <pc:sldChg chg="modSp mod">
        <pc:chgData name="Karanth, Suhas (Allianz SE)" userId="80e062e1-fdb8-46de-bee5-a3166786e341" providerId="ADAL" clId="{361A56D1-2B90-4FC3-A936-DAD77D68E8CE}" dt="2023-01-10T09:43:37.846" v="1306"/>
        <pc:sldMkLst>
          <pc:docMk/>
          <pc:sldMk cId="1144800238" sldId="2147474894"/>
        </pc:sldMkLst>
        <pc:spChg chg="mod">
          <ac:chgData name="Karanth, Suhas (Allianz SE)" userId="80e062e1-fdb8-46de-bee5-a3166786e341" providerId="ADAL" clId="{361A56D1-2B90-4FC3-A936-DAD77D68E8CE}" dt="2023-01-10T09:43:37.846" v="1306"/>
          <ac:spMkLst>
            <pc:docMk/>
            <pc:sldMk cId="1144800238" sldId="2147474894"/>
            <ac:spMk id="3" creationId="{79D18386-D41B-4EDC-AD50-873AFB55DAA8}"/>
          </ac:spMkLst>
        </pc:spChg>
      </pc:sldChg>
      <pc:sldChg chg="modSp new mod">
        <pc:chgData name="Karanth, Suhas (Allianz SE)" userId="80e062e1-fdb8-46de-bee5-a3166786e341" providerId="ADAL" clId="{361A56D1-2B90-4FC3-A936-DAD77D68E8CE}" dt="2023-01-10T10:12:31.407" v="1358" actId="20577"/>
        <pc:sldMkLst>
          <pc:docMk/>
          <pc:sldMk cId="2381064402" sldId="2147474895"/>
        </pc:sldMkLst>
        <pc:spChg chg="mod">
          <ac:chgData name="Karanth, Suhas (Allianz SE)" userId="80e062e1-fdb8-46de-bee5-a3166786e341" providerId="ADAL" clId="{361A56D1-2B90-4FC3-A936-DAD77D68E8CE}" dt="2023-01-10T10:12:27.478" v="1357" actId="20577"/>
          <ac:spMkLst>
            <pc:docMk/>
            <pc:sldMk cId="2381064402" sldId="2147474895"/>
            <ac:spMk id="3" creationId="{A99797F0-F05E-467E-8159-8628BBB4872C}"/>
          </ac:spMkLst>
        </pc:spChg>
        <pc:spChg chg="mod">
          <ac:chgData name="Karanth, Suhas (Allianz SE)" userId="80e062e1-fdb8-46de-bee5-a3166786e341" providerId="ADAL" clId="{361A56D1-2B90-4FC3-A936-DAD77D68E8CE}" dt="2023-01-10T10:12:31.407" v="1358" actId="20577"/>
          <ac:spMkLst>
            <pc:docMk/>
            <pc:sldMk cId="2381064402" sldId="2147474895"/>
            <ac:spMk id="4" creationId="{256054CD-9EA5-4FD1-87EA-A0E97ACC1BDD}"/>
          </ac:spMkLst>
        </pc:spChg>
      </pc:sldChg>
    </pc:docChg>
  </pc:docChgLst>
  <pc:docChgLst>
    <pc:chgData name="Pousada Alvarez, Jennifer (Allianz SE)" userId="S::jennifer.pousada-alvarez@allianz.com::e197da98-cd80-4e36-a171-6bbe9195b27e" providerId="AD" clId="Web-{966E0798-C31B-81DB-7888-8E5839604F4E}"/>
    <pc:docChg chg="addSld delSld modSld">
      <pc:chgData name="Pousada Alvarez, Jennifer (Allianz SE)" userId="S::jennifer.pousada-alvarez@allianz.com::e197da98-cd80-4e36-a171-6bbe9195b27e" providerId="AD" clId="Web-{966E0798-C31B-81DB-7888-8E5839604F4E}" dt="2022-12-20T09:56:58.425" v="2"/>
      <pc:docMkLst>
        <pc:docMk/>
      </pc:docMkLst>
      <pc:sldChg chg="add del mod modShow">
        <pc:chgData name="Pousada Alvarez, Jennifer (Allianz SE)" userId="S::jennifer.pousada-alvarez@allianz.com::e197da98-cd80-4e36-a171-6bbe9195b27e" providerId="AD" clId="Web-{966E0798-C31B-81DB-7888-8E5839604F4E}" dt="2022-12-20T09:56:58.425" v="2"/>
        <pc:sldMkLst>
          <pc:docMk/>
          <pc:sldMk cId="1144800238" sldId="2147474894"/>
        </pc:sldMkLst>
      </pc:sldChg>
    </pc:docChg>
  </pc:docChgLst>
  <pc:docChgLst>
    <pc:chgData name="Clausen, Jan-Hendrik (Allianz Technology, externer Mitarbeiter)" userId="S::extern.clausen_jan-hendrik@allianz.de::4db35455-9c3d-428b-bbff-86a1ba045722" providerId="AD" clId="Web-{CC8B97E3-9113-1996-37D7-BA8622DED423}"/>
    <pc:docChg chg="modSld">
      <pc:chgData name="Clausen, Jan-Hendrik (Allianz Technology, externer Mitarbeiter)" userId="S::extern.clausen_jan-hendrik@allianz.de::4db35455-9c3d-428b-bbff-86a1ba045722" providerId="AD" clId="Web-{CC8B97E3-9113-1996-37D7-BA8622DED423}" dt="2023-01-12T08:30:11.001" v="20" actId="14100"/>
      <pc:docMkLst>
        <pc:docMk/>
      </pc:docMkLst>
      <pc:sldChg chg="addSp modSp">
        <pc:chgData name="Clausen, Jan-Hendrik (Allianz Technology, externer Mitarbeiter)" userId="S::extern.clausen_jan-hendrik@allianz.de::4db35455-9c3d-428b-bbff-86a1ba045722" providerId="AD" clId="Web-{CC8B97E3-9113-1996-37D7-BA8622DED423}" dt="2023-01-12T08:30:11.001" v="20" actId="14100"/>
        <pc:sldMkLst>
          <pc:docMk/>
          <pc:sldMk cId="1663520743" sldId="2147474868"/>
        </pc:sldMkLst>
        <pc:spChg chg="mod">
          <ac:chgData name="Clausen, Jan-Hendrik (Allianz Technology, externer Mitarbeiter)" userId="S::extern.clausen_jan-hendrik@allianz.de::4db35455-9c3d-428b-bbff-86a1ba045722" providerId="AD" clId="Web-{CC8B97E3-9113-1996-37D7-BA8622DED423}" dt="2023-01-12T08:28:49.576" v="7" actId="14100"/>
          <ac:spMkLst>
            <pc:docMk/>
            <pc:sldMk cId="1663520743" sldId="2147474868"/>
            <ac:spMk id="22" creationId="{70D8B6B7-CF32-4090-AD71-DEDBBB0BEADE}"/>
          </ac:spMkLst>
        </pc:spChg>
        <pc:picChg chg="add mod">
          <ac:chgData name="Clausen, Jan-Hendrik (Allianz Technology, externer Mitarbeiter)" userId="S::extern.clausen_jan-hendrik@allianz.de::4db35455-9c3d-428b-bbff-86a1ba045722" providerId="AD" clId="Web-{CC8B97E3-9113-1996-37D7-BA8622DED423}" dt="2023-01-12T08:30:03.673" v="18" actId="1076"/>
          <ac:picMkLst>
            <pc:docMk/>
            <pc:sldMk cId="1663520743" sldId="2147474868"/>
            <ac:picMk id="4" creationId="{293B87EC-F983-693E-62B7-58E1E326D342}"/>
          </ac:picMkLst>
        </pc:picChg>
        <pc:picChg chg="add mod">
          <ac:chgData name="Clausen, Jan-Hendrik (Allianz Technology, externer Mitarbeiter)" userId="S::extern.clausen_jan-hendrik@allianz.de::4db35455-9c3d-428b-bbff-86a1ba045722" providerId="AD" clId="Web-{CC8B97E3-9113-1996-37D7-BA8622DED423}" dt="2023-01-12T08:30:11.001" v="20" actId="14100"/>
          <ac:picMkLst>
            <pc:docMk/>
            <pc:sldMk cId="1663520743" sldId="2147474868"/>
            <ac:picMk id="5" creationId="{DC616AFA-7AF9-05F1-F329-BF4B474B1948}"/>
          </ac:picMkLst>
        </pc:picChg>
      </pc:sldChg>
      <pc:sldChg chg="modSp">
        <pc:chgData name="Clausen, Jan-Hendrik (Allianz Technology, externer Mitarbeiter)" userId="S::extern.clausen_jan-hendrik@allianz.de::4db35455-9c3d-428b-bbff-86a1ba045722" providerId="AD" clId="Web-{CC8B97E3-9113-1996-37D7-BA8622DED423}" dt="2023-01-12T08:00:09.143" v="1" actId="20577"/>
        <pc:sldMkLst>
          <pc:docMk/>
          <pc:sldMk cId="4175557226" sldId="2147474888"/>
        </pc:sldMkLst>
        <pc:spChg chg="mod">
          <ac:chgData name="Clausen, Jan-Hendrik (Allianz Technology, externer Mitarbeiter)" userId="S::extern.clausen_jan-hendrik@allianz.de::4db35455-9c3d-428b-bbff-86a1ba045722" providerId="AD" clId="Web-{CC8B97E3-9113-1996-37D7-BA8622DED423}" dt="2023-01-12T08:00:09.143" v="1" actId="20577"/>
          <ac:spMkLst>
            <pc:docMk/>
            <pc:sldMk cId="4175557226" sldId="2147474888"/>
            <ac:spMk id="9" creationId="{A3165181-A9C3-4869-A563-4486468D5665}"/>
          </ac:spMkLst>
        </pc:spChg>
      </pc:sldChg>
    </pc:docChg>
  </pc:docChgLst>
  <pc:docChgLst>
    <pc:chgData name="Hunte, Byron (Allianz SE)" userId="ed879992-8afd-47fb-b8bd-165663a4967b" providerId="ADAL" clId="{DB8909C4-3AE7-494F-8390-C15327E64A00}"/>
    <pc:docChg chg="undo custSel addSld delSld modSld sldOrd">
      <pc:chgData name="Hunte, Byron (Allianz SE)" userId="ed879992-8afd-47fb-b8bd-165663a4967b" providerId="ADAL" clId="{DB8909C4-3AE7-494F-8390-C15327E64A00}" dt="2022-12-15T11:53:29.650" v="2241" actId="20577"/>
      <pc:docMkLst>
        <pc:docMk/>
      </pc:docMkLst>
      <pc:sldChg chg="modSp mod">
        <pc:chgData name="Hunte, Byron (Allianz SE)" userId="ed879992-8afd-47fb-b8bd-165663a4967b" providerId="ADAL" clId="{DB8909C4-3AE7-494F-8390-C15327E64A00}" dt="2022-12-15T10:57:53.546" v="2086" actId="20577"/>
        <pc:sldMkLst>
          <pc:docMk/>
          <pc:sldMk cId="4150961444" sldId="257"/>
        </pc:sldMkLst>
        <pc:spChg chg="mod">
          <ac:chgData name="Hunte, Byron (Allianz SE)" userId="ed879992-8afd-47fb-b8bd-165663a4967b" providerId="ADAL" clId="{DB8909C4-3AE7-494F-8390-C15327E64A00}" dt="2022-12-14T16:11:31.191" v="101" actId="20577"/>
          <ac:spMkLst>
            <pc:docMk/>
            <pc:sldMk cId="4150961444" sldId="257"/>
            <ac:spMk id="5" creationId="{F4F302BB-326D-4195-A983-4A410F1E4A5B}"/>
          </ac:spMkLst>
        </pc:spChg>
        <pc:spChg chg="mod">
          <ac:chgData name="Hunte, Byron (Allianz SE)" userId="ed879992-8afd-47fb-b8bd-165663a4967b" providerId="ADAL" clId="{DB8909C4-3AE7-494F-8390-C15327E64A00}" dt="2022-12-14T16:12:13.667" v="113" actId="1038"/>
          <ac:spMkLst>
            <pc:docMk/>
            <pc:sldMk cId="4150961444" sldId="257"/>
            <ac:spMk id="8" creationId="{7DE9121B-5E29-476E-A659-CE59D8F2D778}"/>
          </ac:spMkLst>
        </pc:spChg>
        <pc:spChg chg="mod">
          <ac:chgData name="Hunte, Byron (Allianz SE)" userId="ed879992-8afd-47fb-b8bd-165663a4967b" providerId="ADAL" clId="{DB8909C4-3AE7-494F-8390-C15327E64A00}" dt="2022-12-14T16:12:13.667" v="113" actId="1038"/>
          <ac:spMkLst>
            <pc:docMk/>
            <pc:sldMk cId="4150961444" sldId="257"/>
            <ac:spMk id="9" creationId="{EE9B0C72-0DB7-40B9-9454-264D9D37B510}"/>
          </ac:spMkLst>
        </pc:spChg>
        <pc:spChg chg="mod">
          <ac:chgData name="Hunte, Byron (Allianz SE)" userId="ed879992-8afd-47fb-b8bd-165663a4967b" providerId="ADAL" clId="{DB8909C4-3AE7-494F-8390-C15327E64A00}" dt="2022-12-15T10:57:53.546" v="2086" actId="20577"/>
          <ac:spMkLst>
            <pc:docMk/>
            <pc:sldMk cId="4150961444" sldId="257"/>
            <ac:spMk id="10" creationId="{3498AEBA-199A-4BF6-8FB1-7D6A67A4629A}"/>
          </ac:spMkLst>
        </pc:spChg>
      </pc:sldChg>
      <pc:sldChg chg="modSp mod">
        <pc:chgData name="Hunte, Byron (Allianz SE)" userId="ed879992-8afd-47fb-b8bd-165663a4967b" providerId="ADAL" clId="{DB8909C4-3AE7-494F-8390-C15327E64A00}" dt="2022-12-14T17:20:59.178" v="1698" actId="1076"/>
        <pc:sldMkLst>
          <pc:docMk/>
          <pc:sldMk cId="855868122" sldId="2147474858"/>
        </pc:sldMkLst>
        <pc:spChg chg="mod">
          <ac:chgData name="Hunte, Byron (Allianz SE)" userId="ed879992-8afd-47fb-b8bd-165663a4967b" providerId="ADAL" clId="{DB8909C4-3AE7-494F-8390-C15327E64A00}" dt="2022-12-14T17:20:59.178" v="1698" actId="1076"/>
          <ac:spMkLst>
            <pc:docMk/>
            <pc:sldMk cId="855868122" sldId="2147474858"/>
            <ac:spMk id="3" creationId="{DE6CC9F4-942C-464A-A710-3353555563EA}"/>
          </ac:spMkLst>
        </pc:spChg>
      </pc:sldChg>
      <pc:sldChg chg="addSp modSp mod ord">
        <pc:chgData name="Hunte, Byron (Allianz SE)" userId="ed879992-8afd-47fb-b8bd-165663a4967b" providerId="ADAL" clId="{DB8909C4-3AE7-494F-8390-C15327E64A00}" dt="2022-12-14T19:36:21.135" v="1915" actId="14100"/>
        <pc:sldMkLst>
          <pc:docMk/>
          <pc:sldMk cId="3602453180" sldId="2147474877"/>
        </pc:sldMkLst>
        <pc:spChg chg="mod">
          <ac:chgData name="Hunte, Byron (Allianz SE)" userId="ed879992-8afd-47fb-b8bd-165663a4967b" providerId="ADAL" clId="{DB8909C4-3AE7-494F-8390-C15327E64A00}" dt="2022-12-14T19:34:47.583" v="1887" actId="20577"/>
          <ac:spMkLst>
            <pc:docMk/>
            <pc:sldMk cId="3602453180" sldId="2147474877"/>
            <ac:spMk id="3" creationId="{21257603-DCD1-7CD1-FDA0-5EFC1D66729E}"/>
          </ac:spMkLst>
        </pc:spChg>
        <pc:spChg chg="add mod">
          <ac:chgData name="Hunte, Byron (Allianz SE)" userId="ed879992-8afd-47fb-b8bd-165663a4967b" providerId="ADAL" clId="{DB8909C4-3AE7-494F-8390-C15327E64A00}" dt="2022-12-14T19:36:21.135" v="1915" actId="14100"/>
          <ac:spMkLst>
            <pc:docMk/>
            <pc:sldMk cId="3602453180" sldId="2147474877"/>
            <ac:spMk id="4" creationId="{6FFD62A8-7FE1-4785-95AD-3F2865637294}"/>
          </ac:spMkLst>
        </pc:spChg>
      </pc:sldChg>
      <pc:sldChg chg="modSp mod">
        <pc:chgData name="Hunte, Byron (Allianz SE)" userId="ed879992-8afd-47fb-b8bd-165663a4967b" providerId="ADAL" clId="{DB8909C4-3AE7-494F-8390-C15327E64A00}" dt="2022-12-14T19:37:18.909" v="1916" actId="20577"/>
        <pc:sldMkLst>
          <pc:docMk/>
          <pc:sldMk cId="1727248298" sldId="2147474881"/>
        </pc:sldMkLst>
        <pc:spChg chg="mod">
          <ac:chgData name="Hunte, Byron (Allianz SE)" userId="ed879992-8afd-47fb-b8bd-165663a4967b" providerId="ADAL" clId="{DB8909C4-3AE7-494F-8390-C15327E64A00}" dt="2022-12-14T19:37:18.909" v="1916" actId="20577"/>
          <ac:spMkLst>
            <pc:docMk/>
            <pc:sldMk cId="1727248298" sldId="2147474881"/>
            <ac:spMk id="4" creationId="{1826F763-6700-4515-AB67-EBB18B9F62E3}"/>
          </ac:spMkLst>
        </pc:spChg>
      </pc:sldChg>
      <pc:sldChg chg="addSp delSp modSp new del mod ord">
        <pc:chgData name="Hunte, Byron (Allianz SE)" userId="ed879992-8afd-47fb-b8bd-165663a4967b" providerId="ADAL" clId="{DB8909C4-3AE7-494F-8390-C15327E64A00}" dt="2022-12-14T16:52:00.446" v="1210" actId="2696"/>
        <pc:sldMkLst>
          <pc:docMk/>
          <pc:sldMk cId="2642392208" sldId="2147474884"/>
        </pc:sldMkLst>
        <pc:spChg chg="del">
          <ac:chgData name="Hunte, Byron (Allianz SE)" userId="ed879992-8afd-47fb-b8bd-165663a4967b" providerId="ADAL" clId="{DB8909C4-3AE7-494F-8390-C15327E64A00}" dt="2022-12-14T16:12:49.960" v="118" actId="478"/>
          <ac:spMkLst>
            <pc:docMk/>
            <pc:sldMk cId="2642392208" sldId="2147474884"/>
            <ac:spMk id="3" creationId="{32ED8AF2-8D0B-4588-917D-64E4AEA070DF}"/>
          </ac:spMkLst>
        </pc:spChg>
        <pc:spChg chg="del">
          <ac:chgData name="Hunte, Byron (Allianz SE)" userId="ed879992-8afd-47fb-b8bd-165663a4967b" providerId="ADAL" clId="{DB8909C4-3AE7-494F-8390-C15327E64A00}" dt="2022-12-14T16:12:55.339" v="119" actId="478"/>
          <ac:spMkLst>
            <pc:docMk/>
            <pc:sldMk cId="2642392208" sldId="2147474884"/>
            <ac:spMk id="4" creationId="{DED2BD26-2ABA-4B2B-810F-DBF9E5A505DF}"/>
          </ac:spMkLst>
        </pc:spChg>
        <pc:spChg chg="add mod">
          <ac:chgData name="Hunte, Byron (Allianz SE)" userId="ed879992-8afd-47fb-b8bd-165663a4967b" providerId="ADAL" clId="{DB8909C4-3AE7-494F-8390-C15327E64A00}" dt="2022-12-14T16:44:46.365" v="1153" actId="1076"/>
          <ac:spMkLst>
            <pc:docMk/>
            <pc:sldMk cId="2642392208" sldId="2147474884"/>
            <ac:spMk id="5" creationId="{547812AB-D611-44A6-BEB4-9A2E63AAECC4}"/>
          </ac:spMkLst>
        </pc:spChg>
        <pc:spChg chg="del">
          <ac:chgData name="Hunte, Byron (Allianz SE)" userId="ed879992-8afd-47fb-b8bd-165663a4967b" providerId="ADAL" clId="{DB8909C4-3AE7-494F-8390-C15327E64A00}" dt="2022-12-14T16:26:37.098" v="149"/>
          <ac:spMkLst>
            <pc:docMk/>
            <pc:sldMk cId="2642392208" sldId="2147474884"/>
            <ac:spMk id="6" creationId="{A3886B66-2878-49AE-B746-1C558EEB7678}"/>
          </ac:spMkLst>
        </pc:spChg>
        <pc:picChg chg="add del mod ord">
          <ac:chgData name="Hunte, Byron (Allianz SE)" userId="ed879992-8afd-47fb-b8bd-165663a4967b" providerId="ADAL" clId="{DB8909C4-3AE7-494F-8390-C15327E64A00}" dt="2022-12-14T16:44:24.094" v="1148" actId="21"/>
          <ac:picMkLst>
            <pc:docMk/>
            <pc:sldMk cId="2642392208" sldId="2147474884"/>
            <ac:picMk id="8" creationId="{BD619495-95B4-4D07-BE14-624CE59D471F}"/>
          </ac:picMkLst>
        </pc:picChg>
      </pc:sldChg>
      <pc:sldChg chg="addSp delSp modSp mod">
        <pc:chgData name="Hunte, Byron (Allianz SE)" userId="ed879992-8afd-47fb-b8bd-165663a4967b" providerId="ADAL" clId="{DB8909C4-3AE7-494F-8390-C15327E64A00}" dt="2022-12-14T19:36:04.119" v="1899"/>
        <pc:sldMkLst>
          <pc:docMk/>
          <pc:sldMk cId="124277909" sldId="2147474885"/>
        </pc:sldMkLst>
        <pc:spChg chg="mod">
          <ac:chgData name="Hunte, Byron (Allianz SE)" userId="ed879992-8afd-47fb-b8bd-165663a4967b" providerId="ADAL" clId="{DB8909C4-3AE7-494F-8390-C15327E64A00}" dt="2022-12-14T19:30:10.890" v="1783" actId="20577"/>
          <ac:spMkLst>
            <pc:docMk/>
            <pc:sldMk cId="124277909" sldId="2147474885"/>
            <ac:spMk id="5" creationId="{547812AB-D611-44A6-BEB4-9A2E63AAECC4}"/>
          </ac:spMkLst>
        </pc:spChg>
        <pc:spChg chg="add mod">
          <ac:chgData name="Hunte, Byron (Allianz SE)" userId="ed879992-8afd-47fb-b8bd-165663a4967b" providerId="ADAL" clId="{DB8909C4-3AE7-494F-8390-C15327E64A00}" dt="2022-12-14T19:36:04.119" v="1899"/>
          <ac:spMkLst>
            <pc:docMk/>
            <pc:sldMk cId="124277909" sldId="2147474885"/>
            <ac:spMk id="8" creationId="{944D2C7C-470D-46F0-9FAB-6A1677120B15}"/>
          </ac:spMkLst>
        </pc:spChg>
        <pc:picChg chg="add del mod ord">
          <ac:chgData name="Hunte, Byron (Allianz SE)" userId="ed879992-8afd-47fb-b8bd-165663a4967b" providerId="ADAL" clId="{DB8909C4-3AE7-494F-8390-C15327E64A00}" dt="2022-12-14T17:14:03.026" v="1645" actId="478"/>
          <ac:picMkLst>
            <pc:docMk/>
            <pc:sldMk cId="124277909" sldId="2147474885"/>
            <ac:picMk id="4" creationId="{981F3388-3BD1-4631-A723-98D0D7358D5C}"/>
          </ac:picMkLst>
        </pc:picChg>
        <pc:picChg chg="add del mod">
          <ac:chgData name="Hunte, Byron (Allianz SE)" userId="ed879992-8afd-47fb-b8bd-165663a4967b" providerId="ADAL" clId="{DB8909C4-3AE7-494F-8390-C15327E64A00}" dt="2022-12-14T17:25:14.626" v="1720" actId="21"/>
          <ac:picMkLst>
            <pc:docMk/>
            <pc:sldMk cId="124277909" sldId="2147474885"/>
            <ac:picMk id="6" creationId="{26D59436-46B3-4FDB-8A4A-BF4EFA90F6AE}"/>
          </ac:picMkLst>
        </pc:picChg>
        <pc:picChg chg="add mod">
          <ac:chgData name="Hunte, Byron (Allianz SE)" userId="ed879992-8afd-47fb-b8bd-165663a4967b" providerId="ADAL" clId="{DB8909C4-3AE7-494F-8390-C15327E64A00}" dt="2022-12-14T17:25:29.136" v="1723" actId="1076"/>
          <ac:picMkLst>
            <pc:docMk/>
            <pc:sldMk cId="124277909" sldId="2147474885"/>
            <ac:picMk id="7" creationId="{9FDEF50C-1B70-4755-B3D1-81F2AE7A82EC}"/>
          </ac:picMkLst>
        </pc:picChg>
      </pc:sldChg>
      <pc:sldChg chg="modSp del mod">
        <pc:chgData name="Hunte, Byron (Allianz SE)" userId="ed879992-8afd-47fb-b8bd-165663a4967b" providerId="ADAL" clId="{DB8909C4-3AE7-494F-8390-C15327E64A00}" dt="2022-12-14T16:52:06.069" v="1211" actId="2696"/>
        <pc:sldMkLst>
          <pc:docMk/>
          <pc:sldMk cId="3191071999" sldId="2147474886"/>
        </pc:sldMkLst>
        <pc:spChg chg="mod">
          <ac:chgData name="Hunte, Byron (Allianz SE)" userId="ed879992-8afd-47fb-b8bd-165663a4967b" providerId="ADAL" clId="{DB8909C4-3AE7-494F-8390-C15327E64A00}" dt="2022-12-14T16:35:22.421" v="604" actId="20577"/>
          <ac:spMkLst>
            <pc:docMk/>
            <pc:sldMk cId="3191071999" sldId="2147474886"/>
            <ac:spMk id="5" creationId="{547812AB-D611-44A6-BEB4-9A2E63AAECC4}"/>
          </ac:spMkLst>
        </pc:spChg>
      </pc:sldChg>
      <pc:sldChg chg="addSp delSp modSp mod modNotesTx">
        <pc:chgData name="Hunte, Byron (Allianz SE)" userId="ed879992-8afd-47fb-b8bd-165663a4967b" providerId="ADAL" clId="{DB8909C4-3AE7-494F-8390-C15327E64A00}" dt="2022-12-14T19:39:06.449" v="1924" actId="20577"/>
        <pc:sldMkLst>
          <pc:docMk/>
          <pc:sldMk cId="4258163" sldId="2147474887"/>
        </pc:sldMkLst>
        <pc:spChg chg="mod">
          <ac:chgData name="Hunte, Byron (Allianz SE)" userId="ed879992-8afd-47fb-b8bd-165663a4967b" providerId="ADAL" clId="{DB8909C4-3AE7-494F-8390-C15327E64A00}" dt="2022-12-14T19:39:06.449" v="1924" actId="20577"/>
          <ac:spMkLst>
            <pc:docMk/>
            <pc:sldMk cId="4258163" sldId="2147474887"/>
            <ac:spMk id="5" creationId="{547812AB-D611-44A6-BEB4-9A2E63AAECC4}"/>
          </ac:spMkLst>
        </pc:spChg>
        <pc:spChg chg="add mod">
          <ac:chgData name="Hunte, Byron (Allianz SE)" userId="ed879992-8afd-47fb-b8bd-165663a4967b" providerId="ADAL" clId="{DB8909C4-3AE7-494F-8390-C15327E64A00}" dt="2022-12-14T19:35:31.930" v="1897" actId="1076"/>
          <ac:spMkLst>
            <pc:docMk/>
            <pc:sldMk cId="4258163" sldId="2147474887"/>
            <ac:spMk id="12" creationId="{97C35616-F53C-4EFA-A727-E2BB070FEC77}"/>
          </ac:spMkLst>
        </pc:spChg>
        <pc:picChg chg="add del mod ord">
          <ac:chgData name="Hunte, Byron (Allianz SE)" userId="ed879992-8afd-47fb-b8bd-165663a4967b" providerId="ADAL" clId="{DB8909C4-3AE7-494F-8390-C15327E64A00}" dt="2022-12-14T16:47:51.831" v="1167" actId="478"/>
          <ac:picMkLst>
            <pc:docMk/>
            <pc:sldMk cId="4258163" sldId="2147474887"/>
            <ac:picMk id="4" creationId="{1E91B037-F12B-4876-B7DE-4E1D572EACD1}"/>
          </ac:picMkLst>
        </pc:picChg>
        <pc:picChg chg="add del mod ord">
          <ac:chgData name="Hunte, Byron (Allianz SE)" userId="ed879992-8afd-47fb-b8bd-165663a4967b" providerId="ADAL" clId="{DB8909C4-3AE7-494F-8390-C15327E64A00}" dt="2022-12-14T16:48:42.723" v="1171" actId="478"/>
          <ac:picMkLst>
            <pc:docMk/>
            <pc:sldMk cId="4258163" sldId="2147474887"/>
            <ac:picMk id="7" creationId="{44D72D46-CF6D-44BB-A276-537138FCCE9A}"/>
          </ac:picMkLst>
        </pc:picChg>
        <pc:picChg chg="add del mod ord">
          <ac:chgData name="Hunte, Byron (Allianz SE)" userId="ed879992-8afd-47fb-b8bd-165663a4967b" providerId="ADAL" clId="{DB8909C4-3AE7-494F-8390-C15327E64A00}" dt="2022-12-14T17:25:05.090" v="1717" actId="21"/>
          <ac:picMkLst>
            <pc:docMk/>
            <pc:sldMk cId="4258163" sldId="2147474887"/>
            <ac:picMk id="9" creationId="{F8DCA5E7-A34A-4CA8-8C74-564452A7BE69}"/>
          </ac:picMkLst>
        </pc:picChg>
        <pc:picChg chg="add del mod">
          <ac:chgData name="Hunte, Byron (Allianz SE)" userId="ed879992-8afd-47fb-b8bd-165663a4967b" providerId="ADAL" clId="{DB8909C4-3AE7-494F-8390-C15327E64A00}" dt="2022-12-14T17:23:45.229" v="1708" actId="21"/>
          <ac:picMkLst>
            <pc:docMk/>
            <pc:sldMk cId="4258163" sldId="2147474887"/>
            <ac:picMk id="10" creationId="{8D1E015C-C58B-4458-8128-050CBF48C47A}"/>
          </ac:picMkLst>
        </pc:picChg>
        <pc:picChg chg="add mod">
          <ac:chgData name="Hunte, Byron (Allianz SE)" userId="ed879992-8afd-47fb-b8bd-165663a4967b" providerId="ADAL" clId="{DB8909C4-3AE7-494F-8390-C15327E64A00}" dt="2022-12-14T17:25:19.238" v="1721"/>
          <ac:picMkLst>
            <pc:docMk/>
            <pc:sldMk cId="4258163" sldId="2147474887"/>
            <ac:picMk id="11" creationId="{9905B8DB-0B3C-4067-85C9-227634C86402}"/>
          </ac:picMkLst>
        </pc:picChg>
      </pc:sldChg>
      <pc:sldChg chg="addSp delSp modSp mod">
        <pc:chgData name="Hunte, Byron (Allianz SE)" userId="ed879992-8afd-47fb-b8bd-165663a4967b" providerId="ADAL" clId="{DB8909C4-3AE7-494F-8390-C15327E64A00}" dt="2022-12-15T11:53:29.650" v="2241" actId="20577"/>
        <pc:sldMkLst>
          <pc:docMk/>
          <pc:sldMk cId="4175557226" sldId="2147474888"/>
        </pc:sldMkLst>
        <pc:spChg chg="del mod">
          <ac:chgData name="Hunte, Byron (Allianz SE)" userId="ed879992-8afd-47fb-b8bd-165663a4967b" providerId="ADAL" clId="{DB8909C4-3AE7-494F-8390-C15327E64A00}" dt="2022-12-14T17:04:13.745" v="1581" actId="478"/>
          <ac:spMkLst>
            <pc:docMk/>
            <pc:sldMk cId="4175557226" sldId="2147474888"/>
            <ac:spMk id="3" creationId="{21257603-DCD1-7CD1-FDA0-5EFC1D66729E}"/>
          </ac:spMkLst>
        </pc:spChg>
        <pc:spChg chg="add del mod">
          <ac:chgData name="Hunte, Byron (Allianz SE)" userId="ed879992-8afd-47fb-b8bd-165663a4967b" providerId="ADAL" clId="{DB8909C4-3AE7-494F-8390-C15327E64A00}" dt="2022-12-14T17:05:27.469" v="1591" actId="478"/>
          <ac:spMkLst>
            <pc:docMk/>
            <pc:sldMk cId="4175557226" sldId="2147474888"/>
            <ac:spMk id="7" creationId="{61E765A8-1CBE-4BBF-BC04-62AF4C030751}"/>
          </ac:spMkLst>
        </pc:spChg>
        <pc:spChg chg="add mod">
          <ac:chgData name="Hunte, Byron (Allianz SE)" userId="ed879992-8afd-47fb-b8bd-165663a4967b" providerId="ADAL" clId="{DB8909C4-3AE7-494F-8390-C15327E64A00}" dt="2022-12-15T11:53:29.650" v="2241" actId="20577"/>
          <ac:spMkLst>
            <pc:docMk/>
            <pc:sldMk cId="4175557226" sldId="2147474888"/>
            <ac:spMk id="9" creationId="{A3165181-A9C3-4869-A563-4486468D5665}"/>
          </ac:spMkLst>
        </pc:spChg>
        <pc:spChg chg="add mod">
          <ac:chgData name="Hunte, Byron (Allianz SE)" userId="ed879992-8afd-47fb-b8bd-165663a4967b" providerId="ADAL" clId="{DB8909C4-3AE7-494F-8390-C15327E64A00}" dt="2022-12-14T19:36:00.480" v="1898"/>
          <ac:spMkLst>
            <pc:docMk/>
            <pc:sldMk cId="4175557226" sldId="2147474888"/>
            <ac:spMk id="13" creationId="{ED6E39D3-D3F4-4CBC-AA97-2AEFE8FE1773}"/>
          </ac:spMkLst>
        </pc:spChg>
        <pc:picChg chg="add del mod">
          <ac:chgData name="Hunte, Byron (Allianz SE)" userId="ed879992-8afd-47fb-b8bd-165663a4967b" providerId="ADAL" clId="{DB8909C4-3AE7-494F-8390-C15327E64A00}" dt="2022-12-14T17:04:41.476" v="1584" actId="478"/>
          <ac:picMkLst>
            <pc:docMk/>
            <pc:sldMk cId="4175557226" sldId="2147474888"/>
            <ac:picMk id="5" creationId="{0EC6E7DA-E298-46DD-9FB2-40792BBA49AF}"/>
          </ac:picMkLst>
        </pc:picChg>
        <pc:picChg chg="add del mod">
          <ac:chgData name="Hunte, Byron (Allianz SE)" userId="ed879992-8afd-47fb-b8bd-165663a4967b" providerId="ADAL" clId="{DB8909C4-3AE7-494F-8390-C15327E64A00}" dt="2022-12-14T17:23:25.315" v="1704" actId="21"/>
          <ac:picMkLst>
            <pc:docMk/>
            <pc:sldMk cId="4175557226" sldId="2147474888"/>
            <ac:picMk id="11" creationId="{C09571D3-34E3-4C79-8184-EDBE8A3B0875}"/>
          </ac:picMkLst>
        </pc:picChg>
        <pc:picChg chg="add mod">
          <ac:chgData name="Hunte, Byron (Allianz SE)" userId="ed879992-8afd-47fb-b8bd-165663a4967b" providerId="ADAL" clId="{DB8909C4-3AE7-494F-8390-C15327E64A00}" dt="2022-12-14T17:23:54.137" v="1710" actId="1076"/>
          <ac:picMkLst>
            <pc:docMk/>
            <pc:sldMk cId="4175557226" sldId="2147474888"/>
            <ac:picMk id="12" creationId="{EAB9DE96-CA25-4F91-99D7-61B1FE194CC4}"/>
          </ac:picMkLst>
        </pc:picChg>
      </pc:sldChg>
    </pc:docChg>
  </pc:docChgLst>
  <pc:docChgLst>
    <pc:chgData name="Lechner, Pirmin (Allianz SE)" userId="S::pirmin.lechner@allianz.com::4ff95c5a-ccbc-4dc8-af2b-255f1ed8d179" providerId="AD" clId="Web-{ED1003FD-E721-3783-4F0B-1F2C9F769FA5}"/>
    <pc:docChg chg="addSld delSld modSld sldOrd">
      <pc:chgData name="Lechner, Pirmin (Allianz SE)" userId="S::pirmin.lechner@allianz.com::4ff95c5a-ccbc-4dc8-af2b-255f1ed8d179" providerId="AD" clId="Web-{ED1003FD-E721-3783-4F0B-1F2C9F769FA5}" dt="2022-12-13T14:23:41.746" v="429" actId="20577"/>
      <pc:docMkLst>
        <pc:docMk/>
      </pc:docMkLst>
      <pc:sldChg chg="addSp modSp">
        <pc:chgData name="Lechner, Pirmin (Allianz SE)" userId="S::pirmin.lechner@allianz.com::4ff95c5a-ccbc-4dc8-af2b-255f1ed8d179" providerId="AD" clId="Web-{ED1003FD-E721-3783-4F0B-1F2C9F769FA5}" dt="2022-12-13T14:13:46.285" v="233" actId="1076"/>
        <pc:sldMkLst>
          <pc:docMk/>
          <pc:sldMk cId="350399327" sldId="2147474859"/>
        </pc:sldMkLst>
        <pc:spChg chg="mod">
          <ac:chgData name="Lechner, Pirmin (Allianz SE)" userId="S::pirmin.lechner@allianz.com::4ff95c5a-ccbc-4dc8-af2b-255f1ed8d179" providerId="AD" clId="Web-{ED1003FD-E721-3783-4F0B-1F2C9F769FA5}" dt="2022-12-13T14:13:15.987" v="224" actId="20577"/>
          <ac:spMkLst>
            <pc:docMk/>
            <pc:sldMk cId="350399327" sldId="2147474859"/>
            <ac:spMk id="4" creationId="{1826F763-6700-4515-AB67-EBB18B9F62E3}"/>
          </ac:spMkLst>
        </pc:spChg>
        <pc:spChg chg="add mod">
          <ac:chgData name="Lechner, Pirmin (Allianz SE)" userId="S::pirmin.lechner@allianz.com::4ff95c5a-ccbc-4dc8-af2b-255f1ed8d179" providerId="AD" clId="Web-{ED1003FD-E721-3783-4F0B-1F2C9F769FA5}" dt="2022-12-13T14:13:46.285" v="233" actId="1076"/>
          <ac:spMkLst>
            <pc:docMk/>
            <pc:sldMk cId="350399327" sldId="2147474859"/>
            <ac:spMk id="5" creationId="{B484F979-949B-663D-5F98-D29472D69F1B}"/>
          </ac:spMkLst>
        </pc:spChg>
        <pc:spChg chg="add mod">
          <ac:chgData name="Lechner, Pirmin (Allianz SE)" userId="S::pirmin.lechner@allianz.com::4ff95c5a-ccbc-4dc8-af2b-255f1ed8d179" providerId="AD" clId="Web-{ED1003FD-E721-3783-4F0B-1F2C9F769FA5}" dt="2022-12-13T14:13:32.285" v="230" actId="20577"/>
          <ac:spMkLst>
            <pc:docMk/>
            <pc:sldMk cId="350399327" sldId="2147474859"/>
            <ac:spMk id="6" creationId="{D6405ED1-221A-6F42-683B-00CC7D3E2C20}"/>
          </ac:spMkLst>
        </pc:spChg>
      </pc:sldChg>
      <pc:sldChg chg="modSp new">
        <pc:chgData name="Lechner, Pirmin (Allianz SE)" userId="S::pirmin.lechner@allianz.com::4ff95c5a-ccbc-4dc8-af2b-255f1ed8d179" providerId="AD" clId="Web-{ED1003FD-E721-3783-4F0B-1F2C9F769FA5}" dt="2022-12-13T14:23:41.746" v="429" actId="20577"/>
        <pc:sldMkLst>
          <pc:docMk/>
          <pc:sldMk cId="2704156487" sldId="2147474863"/>
        </pc:sldMkLst>
        <pc:spChg chg="mod">
          <ac:chgData name="Lechner, Pirmin (Allianz SE)" userId="S::pirmin.lechner@allianz.com::4ff95c5a-ccbc-4dc8-af2b-255f1ed8d179" providerId="AD" clId="Web-{ED1003FD-E721-3783-4F0B-1F2C9F769FA5}" dt="2022-12-13T14:14:09.489" v="236" actId="20577"/>
          <ac:spMkLst>
            <pc:docMk/>
            <pc:sldMk cId="2704156487" sldId="2147474863"/>
            <ac:spMk id="3" creationId="{21257603-DCD1-7CD1-FDA0-5EFC1D66729E}"/>
          </ac:spMkLst>
        </pc:spChg>
        <pc:spChg chg="mod">
          <ac:chgData name="Lechner, Pirmin (Allianz SE)" userId="S::pirmin.lechner@allianz.com::4ff95c5a-ccbc-4dc8-af2b-255f1ed8d179" providerId="AD" clId="Web-{ED1003FD-E721-3783-4F0B-1F2C9F769FA5}" dt="2022-12-13T14:23:41.746" v="429" actId="20577"/>
          <ac:spMkLst>
            <pc:docMk/>
            <pc:sldMk cId="2704156487" sldId="2147474863"/>
            <ac:spMk id="4" creationId="{F1198C50-2AD8-D98E-61BE-C03E08C11001}"/>
          </ac:spMkLst>
        </pc:spChg>
      </pc:sldChg>
      <pc:sldChg chg="addSp delSp modSp add del ord replId">
        <pc:chgData name="Lechner, Pirmin (Allianz SE)" userId="S::pirmin.lechner@allianz.com::4ff95c5a-ccbc-4dc8-af2b-255f1ed8d179" providerId="AD" clId="Web-{ED1003FD-E721-3783-4F0B-1F2C9F769FA5}" dt="2022-12-13T14:03:09.916" v="64"/>
        <pc:sldMkLst>
          <pc:docMk/>
          <pc:sldMk cId="3078555778" sldId="2147474864"/>
        </pc:sldMkLst>
        <pc:spChg chg="del mod">
          <ac:chgData name="Lechner, Pirmin (Allianz SE)" userId="S::pirmin.lechner@allianz.com::4ff95c5a-ccbc-4dc8-af2b-255f1ed8d179" providerId="AD" clId="Web-{ED1003FD-E721-3783-4F0B-1F2C9F769FA5}" dt="2022-12-13T14:03:07.947" v="63"/>
          <ac:spMkLst>
            <pc:docMk/>
            <pc:sldMk cId="3078555778" sldId="2147474864"/>
            <ac:spMk id="2" creationId="{4D33564F-073C-8843-E8D3-91B3677D0088}"/>
          </ac:spMkLst>
        </pc:spChg>
        <pc:spChg chg="add mod">
          <ac:chgData name="Lechner, Pirmin (Allianz SE)" userId="S::pirmin.lechner@allianz.com::4ff95c5a-ccbc-4dc8-af2b-255f1ed8d179" providerId="AD" clId="Web-{ED1003FD-E721-3783-4F0B-1F2C9F769FA5}" dt="2022-12-13T14:03:07.947" v="63"/>
          <ac:spMkLst>
            <pc:docMk/>
            <pc:sldMk cId="3078555778" sldId="2147474864"/>
            <ac:spMk id="4" creationId="{57C8E750-9F74-758E-F340-E88662080715}"/>
          </ac:spMkLst>
        </pc:spChg>
      </pc:sldChg>
      <pc:sldChg chg="new del">
        <pc:chgData name="Lechner, Pirmin (Allianz SE)" userId="S::pirmin.lechner@allianz.com::4ff95c5a-ccbc-4dc8-af2b-255f1ed8d179" providerId="AD" clId="Web-{ED1003FD-E721-3783-4F0B-1F2C9F769FA5}" dt="2022-12-13T14:01:55.820" v="49"/>
        <pc:sldMkLst>
          <pc:docMk/>
          <pc:sldMk cId="1510723307" sldId="2147474865"/>
        </pc:sldMkLst>
      </pc:sldChg>
      <pc:sldChg chg="delSp modSp add ord replId">
        <pc:chgData name="Lechner, Pirmin (Allianz SE)" userId="S::pirmin.lechner@allianz.com::4ff95c5a-ccbc-4dc8-af2b-255f1ed8d179" providerId="AD" clId="Web-{ED1003FD-E721-3783-4F0B-1F2C9F769FA5}" dt="2022-12-13T14:04:37.029" v="92" actId="20577"/>
        <pc:sldMkLst>
          <pc:docMk/>
          <pc:sldMk cId="2401395304" sldId="2147474865"/>
        </pc:sldMkLst>
        <pc:spChg chg="mod">
          <ac:chgData name="Lechner, Pirmin (Allianz SE)" userId="S::pirmin.lechner@allianz.com::4ff95c5a-ccbc-4dc8-af2b-255f1ed8d179" providerId="AD" clId="Web-{ED1003FD-E721-3783-4F0B-1F2C9F769FA5}" dt="2022-12-13T14:04:37.029" v="92" actId="20577"/>
          <ac:spMkLst>
            <pc:docMk/>
            <pc:sldMk cId="2401395304" sldId="2147474865"/>
            <ac:spMk id="3" creationId="{21257603-DCD1-7CD1-FDA0-5EFC1D66729E}"/>
          </ac:spMkLst>
        </pc:spChg>
        <pc:spChg chg="del">
          <ac:chgData name="Lechner, Pirmin (Allianz SE)" userId="S::pirmin.lechner@allianz.com::4ff95c5a-ccbc-4dc8-af2b-255f1ed8d179" providerId="AD" clId="Web-{ED1003FD-E721-3783-4F0B-1F2C9F769FA5}" dt="2022-12-13T14:03:15.292" v="65"/>
          <ac:spMkLst>
            <pc:docMk/>
            <pc:sldMk cId="2401395304" sldId="2147474865"/>
            <ac:spMk id="4" creationId="{F1198C50-2AD8-D98E-61BE-C03E08C11001}"/>
          </ac:spMkLst>
        </pc:spChg>
      </pc:sldChg>
      <pc:sldChg chg="add del replId">
        <pc:chgData name="Lechner, Pirmin (Allianz SE)" userId="S::pirmin.lechner@allianz.com::4ff95c5a-ccbc-4dc8-af2b-255f1ed8d179" providerId="AD" clId="Web-{ED1003FD-E721-3783-4F0B-1F2C9F769FA5}" dt="2022-12-13T14:01:52.991" v="48"/>
        <pc:sldMkLst>
          <pc:docMk/>
          <pc:sldMk cId="1062628675" sldId="2147474866"/>
        </pc:sldMkLst>
      </pc:sldChg>
    </pc:docChg>
  </pc:docChgLst>
  <pc:docChgLst>
    <pc:chgData name="Clausen, Jan-Hendrik (Allianz Technology, externer Mitarbeiter)" userId="S::extern.clausen_jan-hendrik@allianz.de::4db35455-9c3d-428b-bbff-86a1ba045722" providerId="AD" clId="Web-{4B53C503-CBBB-46BC-8464-B00E7F418FEA}"/>
    <pc:docChg chg="addSld modSld">
      <pc:chgData name="Clausen, Jan-Hendrik (Allianz Technology, externer Mitarbeiter)" userId="S::extern.clausen_jan-hendrik@allianz.de::4db35455-9c3d-428b-bbff-86a1ba045722" providerId="AD" clId="Web-{4B53C503-CBBB-46BC-8464-B00E7F418FEA}" dt="2023-01-10T14:44:25.293" v="42"/>
      <pc:docMkLst>
        <pc:docMk/>
      </pc:docMkLst>
      <pc:sldChg chg="addSp delSp modSp add replId">
        <pc:chgData name="Clausen, Jan-Hendrik (Allianz Technology, externer Mitarbeiter)" userId="S::extern.clausen_jan-hendrik@allianz.de::4db35455-9c3d-428b-bbff-86a1ba045722" providerId="AD" clId="Web-{4B53C503-CBBB-46BC-8464-B00E7F418FEA}" dt="2023-01-10T14:44:25.293" v="42"/>
        <pc:sldMkLst>
          <pc:docMk/>
          <pc:sldMk cId="1405429314" sldId="2147474896"/>
        </pc:sldMkLst>
        <pc:spChg chg="mod">
          <ac:chgData name="Clausen, Jan-Hendrik (Allianz Technology, externer Mitarbeiter)" userId="S::extern.clausen_jan-hendrik@allianz.de::4db35455-9c3d-428b-bbff-86a1ba045722" providerId="AD" clId="Web-{4B53C503-CBBB-46BC-8464-B00E7F418FEA}" dt="2023-01-10T14:44:10.184" v="40" actId="20577"/>
          <ac:spMkLst>
            <pc:docMk/>
            <pc:sldMk cId="1405429314" sldId="2147474896"/>
            <ac:spMk id="3" creationId="{25E6BA69-C23D-43F2-9E3F-61617D63A104}"/>
          </ac:spMkLst>
        </pc:spChg>
        <pc:spChg chg="del">
          <ac:chgData name="Clausen, Jan-Hendrik (Allianz Technology, externer Mitarbeiter)" userId="S::extern.clausen_jan-hendrik@allianz.de::4db35455-9c3d-428b-bbff-86a1ba045722" providerId="AD" clId="Web-{4B53C503-CBBB-46BC-8464-B00E7F418FEA}" dt="2023-01-10T14:44:19.746" v="41"/>
          <ac:spMkLst>
            <pc:docMk/>
            <pc:sldMk cId="1405429314" sldId="2147474896"/>
            <ac:spMk id="4" creationId="{1826F763-6700-4515-AB67-EBB18B9F62E3}"/>
          </ac:spMkLst>
        </pc:spChg>
        <pc:spChg chg="add del mod">
          <ac:chgData name="Clausen, Jan-Hendrik (Allianz Technology, externer Mitarbeiter)" userId="S::extern.clausen_jan-hendrik@allianz.de::4db35455-9c3d-428b-bbff-86a1ba045722" providerId="AD" clId="Web-{4B53C503-CBBB-46BC-8464-B00E7F418FEA}" dt="2023-01-10T14:44:25.293" v="42"/>
          <ac:spMkLst>
            <pc:docMk/>
            <pc:sldMk cId="1405429314" sldId="2147474896"/>
            <ac:spMk id="6" creationId="{6F90F762-AF07-69C3-2ACD-CE4599F5203A}"/>
          </ac:spMkLst>
        </pc:spChg>
      </pc:sldChg>
    </pc:docChg>
  </pc:docChgLst>
  <pc:docChgLst>
    <pc:chgData name="Lechner, Pirmin (Allianz SE)" userId="S::pirmin.lechner@allianz.com::4ff95c5a-ccbc-4dc8-af2b-255f1ed8d179" providerId="AD" clId="Web-{01AC1248-D792-2EFA-51DD-AA7CF7A5C060}"/>
    <pc:docChg chg="modSld">
      <pc:chgData name="Lechner, Pirmin (Allianz SE)" userId="S::pirmin.lechner@allianz.com::4ff95c5a-ccbc-4dc8-af2b-255f1ed8d179" providerId="AD" clId="Web-{01AC1248-D792-2EFA-51DD-AA7CF7A5C060}" dt="2022-12-14T08:35:19.168" v="18"/>
      <pc:docMkLst>
        <pc:docMk/>
      </pc:docMkLst>
      <pc:sldChg chg="modSp">
        <pc:chgData name="Lechner, Pirmin (Allianz SE)" userId="S::pirmin.lechner@allianz.com::4ff95c5a-ccbc-4dc8-af2b-255f1ed8d179" providerId="AD" clId="Web-{01AC1248-D792-2EFA-51DD-AA7CF7A5C060}" dt="2022-12-14T08:31:25.991" v="3" actId="20577"/>
        <pc:sldMkLst>
          <pc:docMk/>
          <pc:sldMk cId="2615612162" sldId="320"/>
        </pc:sldMkLst>
        <pc:spChg chg="mod">
          <ac:chgData name="Lechner, Pirmin (Allianz SE)" userId="S::pirmin.lechner@allianz.com::4ff95c5a-ccbc-4dc8-af2b-255f1ed8d179" providerId="AD" clId="Web-{01AC1248-D792-2EFA-51DD-AA7CF7A5C060}" dt="2022-12-14T08:31:25.991" v="3" actId="20577"/>
          <ac:spMkLst>
            <pc:docMk/>
            <pc:sldMk cId="2615612162" sldId="320"/>
            <ac:spMk id="56" creationId="{16CA5BB3-6D1B-4FA0-AAAE-D98100575713}"/>
          </ac:spMkLst>
        </pc:spChg>
      </pc:sldChg>
      <pc:sldChg chg="delSp">
        <pc:chgData name="Lechner, Pirmin (Allianz SE)" userId="S::pirmin.lechner@allianz.com::4ff95c5a-ccbc-4dc8-af2b-255f1ed8d179" providerId="AD" clId="Web-{01AC1248-D792-2EFA-51DD-AA7CF7A5C060}" dt="2022-12-14T08:35:19.168" v="18"/>
        <pc:sldMkLst>
          <pc:docMk/>
          <pc:sldMk cId="958813429" sldId="2147474845"/>
        </pc:sldMkLst>
        <pc:spChg chg="del">
          <ac:chgData name="Lechner, Pirmin (Allianz SE)" userId="S::pirmin.lechner@allianz.com::4ff95c5a-ccbc-4dc8-af2b-255f1ed8d179" providerId="AD" clId="Web-{01AC1248-D792-2EFA-51DD-AA7CF7A5C060}" dt="2022-12-14T08:35:19.168" v="18"/>
          <ac:spMkLst>
            <pc:docMk/>
            <pc:sldMk cId="958813429" sldId="2147474845"/>
            <ac:spMk id="172" creationId="{5A60B869-BAF2-4D82-AF11-5DF7826704EB}"/>
          </ac:spMkLst>
        </pc:spChg>
      </pc:sldChg>
      <pc:sldChg chg="modSp">
        <pc:chgData name="Lechner, Pirmin (Allianz SE)" userId="S::pirmin.lechner@allianz.com::4ff95c5a-ccbc-4dc8-af2b-255f1ed8d179" providerId="AD" clId="Web-{01AC1248-D792-2EFA-51DD-AA7CF7A5C060}" dt="2022-12-14T08:33:36.213" v="17" actId="20577"/>
        <pc:sldMkLst>
          <pc:docMk/>
          <pc:sldMk cId="2704156487" sldId="2147474863"/>
        </pc:sldMkLst>
        <pc:spChg chg="mod">
          <ac:chgData name="Lechner, Pirmin (Allianz SE)" userId="S::pirmin.lechner@allianz.com::4ff95c5a-ccbc-4dc8-af2b-255f1ed8d179" providerId="AD" clId="Web-{01AC1248-D792-2EFA-51DD-AA7CF7A5C060}" dt="2022-12-14T08:33:36.213" v="17" actId="20577"/>
          <ac:spMkLst>
            <pc:docMk/>
            <pc:sldMk cId="2704156487" sldId="2147474863"/>
            <ac:spMk id="4" creationId="{F1198C50-2AD8-D98E-61BE-C03E08C11001}"/>
          </ac:spMkLst>
        </pc:spChg>
      </pc:sldChg>
    </pc:docChg>
  </pc:docChgLst>
  <pc:docChgLst>
    <pc:chgData name="Lechner, Pirmin (Allianz SE)" userId="S::pirmin.lechner@allianz.com::4ff95c5a-ccbc-4dc8-af2b-255f1ed8d179" providerId="AD" clId="Web-{95724DBC-560A-5999-B5B2-F29C36629680}"/>
    <pc:docChg chg="addSld delSld modSld sldOrd">
      <pc:chgData name="Lechner, Pirmin (Allianz SE)" userId="S::pirmin.lechner@allianz.com::4ff95c5a-ccbc-4dc8-af2b-255f1ed8d179" providerId="AD" clId="Web-{95724DBC-560A-5999-B5B2-F29C36629680}" dt="2022-12-13T15:30:03.390" v="679" actId="20577"/>
      <pc:docMkLst>
        <pc:docMk/>
      </pc:docMkLst>
      <pc:sldChg chg="modSp">
        <pc:chgData name="Lechner, Pirmin (Allianz SE)" userId="S::pirmin.lechner@allianz.com::4ff95c5a-ccbc-4dc8-af2b-255f1ed8d179" providerId="AD" clId="Web-{95724DBC-560A-5999-B5B2-F29C36629680}" dt="2022-12-13T15:30:03.390" v="679" actId="20577"/>
        <pc:sldMkLst>
          <pc:docMk/>
          <pc:sldMk cId="4150961444" sldId="257"/>
        </pc:sldMkLst>
        <pc:spChg chg="mod">
          <ac:chgData name="Lechner, Pirmin (Allianz SE)" userId="S::pirmin.lechner@allianz.com::4ff95c5a-ccbc-4dc8-af2b-255f1ed8d179" providerId="AD" clId="Web-{95724DBC-560A-5999-B5B2-F29C36629680}" dt="2022-12-13T15:08:44.654" v="450" actId="20577"/>
          <ac:spMkLst>
            <pc:docMk/>
            <pc:sldMk cId="4150961444" sldId="257"/>
            <ac:spMk id="5" creationId="{F4F302BB-326D-4195-A983-4A410F1E4A5B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30:03.390" v="679" actId="20577"/>
          <ac:spMkLst>
            <pc:docMk/>
            <pc:sldMk cId="4150961444" sldId="257"/>
            <ac:spMk id="8" creationId="{7DE9121B-5E29-476E-A659-CE59D8F2D778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09:35.703" v="475" actId="20577"/>
          <ac:spMkLst>
            <pc:docMk/>
            <pc:sldMk cId="4150961444" sldId="257"/>
            <ac:spMk id="9" creationId="{EE9B0C72-0DB7-40B9-9454-264D9D37B510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09:11.186" v="473" actId="14100"/>
          <ac:spMkLst>
            <pc:docMk/>
            <pc:sldMk cId="4150961444" sldId="257"/>
            <ac:spMk id="10" creationId="{3498AEBA-199A-4BF6-8FB1-7D6A67A4629A}"/>
          </ac:spMkLst>
        </pc:spChg>
      </pc:sldChg>
      <pc:sldChg chg="modSp">
        <pc:chgData name="Lechner, Pirmin (Allianz SE)" userId="S::pirmin.lechner@allianz.com::4ff95c5a-ccbc-4dc8-af2b-255f1ed8d179" providerId="AD" clId="Web-{95724DBC-560A-5999-B5B2-F29C36629680}" dt="2022-12-13T15:14:40.636" v="536" actId="20577"/>
        <pc:sldMkLst>
          <pc:docMk/>
          <pc:sldMk cId="202545387" sldId="315"/>
        </pc:sldMkLst>
        <pc:spChg chg="mod">
          <ac:chgData name="Lechner, Pirmin (Allianz SE)" userId="S::pirmin.lechner@allianz.com::4ff95c5a-ccbc-4dc8-af2b-255f1ed8d179" providerId="AD" clId="Web-{95724DBC-560A-5999-B5B2-F29C36629680}" dt="2022-12-13T15:14:40.636" v="536" actId="20577"/>
          <ac:spMkLst>
            <pc:docMk/>
            <pc:sldMk cId="202545387" sldId="315"/>
            <ac:spMk id="7" creationId="{48C1550A-2F41-4FBE-AB88-F739E650F224}"/>
          </ac:spMkLst>
        </pc:spChg>
      </pc:sldChg>
      <pc:sldChg chg="delSp modSp ord">
        <pc:chgData name="Lechner, Pirmin (Allianz SE)" userId="S::pirmin.lechner@allianz.com::4ff95c5a-ccbc-4dc8-af2b-255f1ed8d179" providerId="AD" clId="Web-{95724DBC-560A-5999-B5B2-F29C36629680}" dt="2022-12-13T15:27:39.557" v="674" actId="20577"/>
        <pc:sldMkLst>
          <pc:docMk/>
          <pc:sldMk cId="2615612162" sldId="320"/>
        </pc:sldMkLst>
        <pc:spChg chg="mod">
          <ac:chgData name="Lechner, Pirmin (Allianz SE)" userId="S::pirmin.lechner@allianz.com::4ff95c5a-ccbc-4dc8-af2b-255f1ed8d179" providerId="AD" clId="Web-{95724DBC-560A-5999-B5B2-F29C36629680}" dt="2022-12-13T15:27:37.728" v="670"/>
          <ac:spMkLst>
            <pc:docMk/>
            <pc:sldMk cId="2615612162" sldId="320"/>
            <ac:spMk id="42" creationId="{B4BD2AB6-06C6-4929-9631-2ECA8CF3BCE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73"/>
          <ac:spMkLst>
            <pc:docMk/>
            <pc:sldMk cId="2615612162" sldId="320"/>
            <ac:spMk id="44" creationId="{0C4F8E15-AF68-4251-82F8-DB5BAB1D86B5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72"/>
          <ac:spMkLst>
            <pc:docMk/>
            <pc:sldMk cId="2615612162" sldId="320"/>
            <ac:spMk id="45" creationId="{A46970EB-59FE-40CC-8A48-BFC050A17E36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71"/>
          <ac:spMkLst>
            <pc:docMk/>
            <pc:sldMk cId="2615612162" sldId="320"/>
            <ac:spMk id="46" creationId="{5DDF3AAE-B3F7-428F-964C-78037008BBA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6"/>
          <ac:spMkLst>
            <pc:docMk/>
            <pc:sldMk cId="2615612162" sldId="320"/>
            <ac:spMk id="49" creationId="{596BF169-F508-4B0D-A316-9F0A1965994F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9"/>
          <ac:spMkLst>
            <pc:docMk/>
            <pc:sldMk cId="2615612162" sldId="320"/>
            <ac:spMk id="51" creationId="{2A398624-3A86-4F25-B897-C9688699D49B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8"/>
          <ac:spMkLst>
            <pc:docMk/>
            <pc:sldMk cId="2615612162" sldId="320"/>
            <ac:spMk id="52" creationId="{6DB289BD-CB5C-4695-9781-38D4A0B3D0A4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7"/>
          <ac:spMkLst>
            <pc:docMk/>
            <pc:sldMk cId="2615612162" sldId="320"/>
            <ac:spMk id="53" creationId="{52BA0066-C6BA-419C-80AB-08CB7E06293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2"/>
          <ac:spMkLst>
            <pc:docMk/>
            <pc:sldMk cId="2615612162" sldId="320"/>
            <ac:spMk id="56" creationId="{16CA5BB3-6D1B-4FA0-AAAE-D9810057571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5"/>
          <ac:spMkLst>
            <pc:docMk/>
            <pc:sldMk cId="2615612162" sldId="320"/>
            <ac:spMk id="58" creationId="{B412DB98-B3B2-468D-96D8-4C9D52ADA99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4"/>
          <ac:spMkLst>
            <pc:docMk/>
            <pc:sldMk cId="2615612162" sldId="320"/>
            <ac:spMk id="59" creationId="{3ACE1962-D260-44EA-AFA8-772B66353A66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3"/>
          <ac:spMkLst>
            <pc:docMk/>
            <pc:sldMk cId="2615612162" sldId="320"/>
            <ac:spMk id="60" creationId="{57844427-8538-46E7-AEFD-6DFA28736ABE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8"/>
          <ac:spMkLst>
            <pc:docMk/>
            <pc:sldMk cId="2615612162" sldId="320"/>
            <ac:spMk id="63" creationId="{20C5A9CA-0AF1-456E-9ADB-C828AFC1B0C8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1"/>
          <ac:spMkLst>
            <pc:docMk/>
            <pc:sldMk cId="2615612162" sldId="320"/>
            <ac:spMk id="65" creationId="{69BC31E0-0DE5-4522-AA80-71AADDEECA4E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60"/>
          <ac:spMkLst>
            <pc:docMk/>
            <pc:sldMk cId="2615612162" sldId="320"/>
            <ac:spMk id="66" creationId="{FFAC0594-769C-4BF8-83D4-7738007ED13B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9"/>
          <ac:spMkLst>
            <pc:docMk/>
            <pc:sldMk cId="2615612162" sldId="320"/>
            <ac:spMk id="67" creationId="{D29DE23E-A773-431C-BA69-B53E157885DC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7"/>
          <ac:spMkLst>
            <pc:docMk/>
            <pc:sldMk cId="2615612162" sldId="320"/>
            <ac:spMk id="70" creationId="{1910B73C-525F-4F5F-BC9D-0EBF81723D05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9.557" v="674" actId="20577"/>
          <ac:spMkLst>
            <pc:docMk/>
            <pc:sldMk cId="2615612162" sldId="320"/>
            <ac:spMk id="72" creationId="{C13EC5E9-CEA1-4C62-AA69-4CD90E54412C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13" v="643"/>
          <ac:spMkLst>
            <pc:docMk/>
            <pc:sldMk cId="2615612162" sldId="320"/>
            <ac:spMk id="73" creationId="{20F3F096-CB4E-4C09-BA9C-CAA4A1DE87BF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13" v="642"/>
          <ac:spMkLst>
            <pc:docMk/>
            <pc:sldMk cId="2615612162" sldId="320"/>
            <ac:spMk id="74" creationId="{B88CC575-4FE5-4728-9D9F-C000E485ECD4}"/>
          </ac:spMkLst>
        </pc:spChg>
        <pc:spChg chg="del">
          <ac:chgData name="Lechner, Pirmin (Allianz SE)" userId="S::pirmin.lechner@allianz.com::4ff95c5a-ccbc-4dc8-af2b-255f1ed8d179" providerId="AD" clId="Web-{95724DBC-560A-5999-B5B2-F29C36629680}" dt="2022-12-13T15:27:00.274" v="576"/>
          <ac:spMkLst>
            <pc:docMk/>
            <pc:sldMk cId="2615612162" sldId="320"/>
            <ac:spMk id="78" creationId="{B14FBBA0-87DC-91DD-DA2C-A3F9E615884F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3"/>
          <ac:spMkLst>
            <pc:docMk/>
            <pc:sldMk cId="2615612162" sldId="320"/>
            <ac:spMk id="79" creationId="{A74B6956-1B7B-4A18-973F-A5FACFE2F02A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6"/>
          <ac:spMkLst>
            <pc:docMk/>
            <pc:sldMk cId="2615612162" sldId="320"/>
            <ac:spMk id="81" creationId="{256C26F5-66EE-46E8-9A26-F5B85CBD8DC3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5"/>
          <ac:spMkLst>
            <pc:docMk/>
            <pc:sldMk cId="2615612162" sldId="320"/>
            <ac:spMk id="82" creationId="{2EB378BD-107B-4BAB-A203-CB0F7027E2BD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4"/>
          <ac:spMkLst>
            <pc:docMk/>
            <pc:sldMk cId="2615612162" sldId="320"/>
            <ac:spMk id="83" creationId="{6720C115-E2AA-470A-BFF7-13B218902E86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49"/>
          <ac:spMkLst>
            <pc:docMk/>
            <pc:sldMk cId="2615612162" sldId="320"/>
            <ac:spMk id="86" creationId="{6AFAAB8B-8795-4972-8EB1-01FE82DB2291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2"/>
          <ac:spMkLst>
            <pc:docMk/>
            <pc:sldMk cId="2615612162" sldId="320"/>
            <ac:spMk id="88" creationId="{16A95FC5-644E-4334-B6EF-883491E54F78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1"/>
          <ac:spMkLst>
            <pc:docMk/>
            <pc:sldMk cId="2615612162" sldId="320"/>
            <ac:spMk id="89" creationId="{A39A53EB-511E-4452-873C-F62507744391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50"/>
          <ac:spMkLst>
            <pc:docMk/>
            <pc:sldMk cId="2615612162" sldId="320"/>
            <ac:spMk id="90" creationId="{430E88E1-6BC3-4E6B-9C39-6EA528855CF9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45"/>
          <ac:spMkLst>
            <pc:docMk/>
            <pc:sldMk cId="2615612162" sldId="320"/>
            <ac:spMk id="93" creationId="{7AA211AF-620D-43D0-99A7-E207243C995A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48"/>
          <ac:spMkLst>
            <pc:docMk/>
            <pc:sldMk cId="2615612162" sldId="320"/>
            <ac:spMk id="95" creationId="{3CF3C409-7122-415B-9D5D-94C43B49D49E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47"/>
          <ac:spMkLst>
            <pc:docMk/>
            <pc:sldMk cId="2615612162" sldId="320"/>
            <ac:spMk id="96" creationId="{20130C78-81FE-4742-820E-0C1A54658FFB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5:27:37.728" v="646"/>
          <ac:spMkLst>
            <pc:docMk/>
            <pc:sldMk cId="2615612162" sldId="320"/>
            <ac:spMk id="97" creationId="{668C1CA0-A7DA-4EB2-B966-5F50DA58FDBC}"/>
          </ac:spMkLst>
        </pc:spChg>
      </pc:sldChg>
      <pc:sldChg chg="ord">
        <pc:chgData name="Lechner, Pirmin (Allianz SE)" userId="S::pirmin.lechner@allianz.com::4ff95c5a-ccbc-4dc8-af2b-255f1ed8d179" providerId="AD" clId="Web-{95724DBC-560A-5999-B5B2-F29C36629680}" dt="2022-12-13T14:56:50.737" v="302"/>
        <pc:sldMkLst>
          <pc:docMk/>
          <pc:sldMk cId="1673016897" sldId="322"/>
        </pc:sldMkLst>
      </pc:sldChg>
      <pc:sldChg chg="del">
        <pc:chgData name="Lechner, Pirmin (Allianz SE)" userId="S::pirmin.lechner@allianz.com::4ff95c5a-ccbc-4dc8-af2b-255f1ed8d179" providerId="AD" clId="Web-{95724DBC-560A-5999-B5B2-F29C36629680}" dt="2022-12-13T15:06:37.040" v="440"/>
        <pc:sldMkLst>
          <pc:docMk/>
          <pc:sldMk cId="3881177895" sldId="2147474843"/>
        </pc:sldMkLst>
      </pc:sldChg>
      <pc:sldChg chg="addSp delSp modSp del">
        <pc:chgData name="Lechner, Pirmin (Allianz SE)" userId="S::pirmin.lechner@allianz.com::4ff95c5a-ccbc-4dc8-af2b-255f1ed8d179" providerId="AD" clId="Web-{95724DBC-560A-5999-B5B2-F29C36629680}" dt="2022-12-13T15:02:30.906" v="347"/>
        <pc:sldMkLst>
          <pc:docMk/>
          <pc:sldMk cId="1563636137" sldId="2147474852"/>
        </pc:sldMkLst>
        <pc:spChg chg="mod">
          <ac:chgData name="Lechner, Pirmin (Allianz SE)" userId="S::pirmin.lechner@allianz.com::4ff95c5a-ccbc-4dc8-af2b-255f1ed8d179" providerId="AD" clId="Web-{95724DBC-560A-5999-B5B2-F29C36629680}" dt="2022-12-13T15:01:54.170" v="336" actId="20577"/>
          <ac:spMkLst>
            <pc:docMk/>
            <pc:sldMk cId="1563636137" sldId="2147474852"/>
            <ac:spMk id="2" creationId="{4D33564F-073C-8843-E8D3-91B3677D0088}"/>
          </ac:spMkLst>
        </pc:spChg>
        <pc:spChg chg="add del mod">
          <ac:chgData name="Lechner, Pirmin (Allianz SE)" userId="S::pirmin.lechner@allianz.com::4ff95c5a-ccbc-4dc8-af2b-255f1ed8d179" providerId="AD" clId="Web-{95724DBC-560A-5999-B5B2-F29C36629680}" dt="2022-12-13T15:01:25.138" v="330"/>
          <ac:spMkLst>
            <pc:docMk/>
            <pc:sldMk cId="1563636137" sldId="2147474852"/>
            <ac:spMk id="3" creationId="{9E42A287-0B5A-4DB9-52BD-1DD513B7D5AA}"/>
          </ac:spMkLst>
        </pc:spChg>
      </pc:sldChg>
      <pc:sldChg chg="del">
        <pc:chgData name="Lechner, Pirmin (Allianz SE)" userId="S::pirmin.lechner@allianz.com::4ff95c5a-ccbc-4dc8-af2b-255f1ed8d179" providerId="AD" clId="Web-{95724DBC-560A-5999-B5B2-F29C36629680}" dt="2022-12-13T15:03:42.424" v="382"/>
        <pc:sldMkLst>
          <pc:docMk/>
          <pc:sldMk cId="58517334" sldId="2147474853"/>
        </pc:sldMkLst>
      </pc:sldChg>
      <pc:sldChg chg="del">
        <pc:chgData name="Lechner, Pirmin (Allianz SE)" userId="S::pirmin.lechner@allianz.com::4ff95c5a-ccbc-4dc8-af2b-255f1ed8d179" providerId="AD" clId="Web-{95724DBC-560A-5999-B5B2-F29C36629680}" dt="2022-12-13T15:04:20.894" v="406"/>
        <pc:sldMkLst>
          <pc:docMk/>
          <pc:sldMk cId="4142277104" sldId="2147474854"/>
        </pc:sldMkLst>
      </pc:sldChg>
      <pc:sldChg chg="del">
        <pc:chgData name="Lechner, Pirmin (Allianz SE)" userId="S::pirmin.lechner@allianz.com::4ff95c5a-ccbc-4dc8-af2b-255f1ed8d179" providerId="AD" clId="Web-{95724DBC-560A-5999-B5B2-F29C36629680}" dt="2022-12-13T15:05:51.710" v="419"/>
        <pc:sldMkLst>
          <pc:docMk/>
          <pc:sldMk cId="2047812837" sldId="2147474855"/>
        </pc:sldMkLst>
      </pc:sldChg>
      <pc:sldChg chg="add del">
        <pc:chgData name="Lechner, Pirmin (Allianz SE)" userId="S::pirmin.lechner@allianz.com::4ff95c5a-ccbc-4dc8-af2b-255f1ed8d179" providerId="AD" clId="Web-{95724DBC-560A-5999-B5B2-F29C36629680}" dt="2022-12-13T15:06:11.711" v="424"/>
        <pc:sldMkLst>
          <pc:docMk/>
          <pc:sldMk cId="2432375510" sldId="2147474856"/>
        </pc:sldMkLst>
      </pc:sldChg>
      <pc:sldChg chg="del">
        <pc:chgData name="Lechner, Pirmin (Allianz SE)" userId="S::pirmin.lechner@allianz.com::4ff95c5a-ccbc-4dc8-af2b-255f1ed8d179" providerId="AD" clId="Web-{95724DBC-560A-5999-B5B2-F29C36629680}" dt="2022-12-13T15:03:10.157" v="352"/>
        <pc:sldMkLst>
          <pc:docMk/>
          <pc:sldMk cId="2894624729" sldId="2147474857"/>
        </pc:sldMkLst>
      </pc:sldChg>
      <pc:sldChg chg="modSp">
        <pc:chgData name="Lechner, Pirmin (Allianz SE)" userId="S::pirmin.lechner@allianz.com::4ff95c5a-ccbc-4dc8-af2b-255f1ed8d179" providerId="AD" clId="Web-{95724DBC-560A-5999-B5B2-F29C36629680}" dt="2022-12-13T15:15:26.123" v="537" actId="1076"/>
        <pc:sldMkLst>
          <pc:docMk/>
          <pc:sldMk cId="350399327" sldId="2147474859"/>
        </pc:sldMkLst>
        <pc:spChg chg="mod">
          <ac:chgData name="Lechner, Pirmin (Allianz SE)" userId="S::pirmin.lechner@allianz.com::4ff95c5a-ccbc-4dc8-af2b-255f1ed8d179" providerId="AD" clId="Web-{95724DBC-560A-5999-B5B2-F29C36629680}" dt="2022-12-13T15:15:26.123" v="537" actId="1076"/>
          <ac:spMkLst>
            <pc:docMk/>
            <pc:sldMk cId="350399327" sldId="2147474859"/>
            <ac:spMk id="5" creationId="{B484F979-949B-663D-5F98-D29472D69F1B}"/>
          </ac:spMkLst>
        </pc:spChg>
      </pc:sldChg>
      <pc:sldChg chg="modSp">
        <pc:chgData name="Lechner, Pirmin (Allianz SE)" userId="S::pirmin.lechner@allianz.com::4ff95c5a-ccbc-4dc8-af2b-255f1ed8d179" providerId="AD" clId="Web-{95724DBC-560A-5999-B5B2-F29C36629680}" dt="2022-12-13T15:24:12.408" v="558" actId="20577"/>
        <pc:sldMkLst>
          <pc:docMk/>
          <pc:sldMk cId="2704156487" sldId="2147474863"/>
        </pc:sldMkLst>
        <pc:spChg chg="mod">
          <ac:chgData name="Lechner, Pirmin (Allianz SE)" userId="S::pirmin.lechner@allianz.com::4ff95c5a-ccbc-4dc8-af2b-255f1ed8d179" providerId="AD" clId="Web-{95724DBC-560A-5999-B5B2-F29C36629680}" dt="2022-12-13T15:24:12.408" v="558" actId="20577"/>
          <ac:spMkLst>
            <pc:docMk/>
            <pc:sldMk cId="2704156487" sldId="2147474863"/>
            <ac:spMk id="4" creationId="{F1198C50-2AD8-D98E-61BE-C03E08C11001}"/>
          </ac:spMkLst>
        </pc:spChg>
      </pc:sldChg>
      <pc:sldChg chg="modSp">
        <pc:chgData name="Lechner, Pirmin (Allianz SE)" userId="S::pirmin.lechner@allianz.com::4ff95c5a-ccbc-4dc8-af2b-255f1ed8d179" providerId="AD" clId="Web-{95724DBC-560A-5999-B5B2-F29C36629680}" dt="2022-12-13T15:26:21.132" v="574" actId="20577"/>
        <pc:sldMkLst>
          <pc:docMk/>
          <pc:sldMk cId="2401395304" sldId="2147474865"/>
        </pc:sldMkLst>
        <pc:spChg chg="mod">
          <ac:chgData name="Lechner, Pirmin (Allianz SE)" userId="S::pirmin.lechner@allianz.com::4ff95c5a-ccbc-4dc8-af2b-255f1ed8d179" providerId="AD" clId="Web-{95724DBC-560A-5999-B5B2-F29C36629680}" dt="2022-12-13T15:26:21.132" v="574" actId="20577"/>
          <ac:spMkLst>
            <pc:docMk/>
            <pc:sldMk cId="2401395304" sldId="2147474865"/>
            <ac:spMk id="3" creationId="{21257603-DCD1-7CD1-FDA0-5EFC1D66729E}"/>
          </ac:spMkLst>
        </pc:spChg>
      </pc:sldChg>
      <pc:sldChg chg="addSp delSp modSp">
        <pc:chgData name="Lechner, Pirmin (Allianz SE)" userId="S::pirmin.lechner@allianz.com::4ff95c5a-ccbc-4dc8-af2b-255f1ed8d179" providerId="AD" clId="Web-{95724DBC-560A-5999-B5B2-F29C36629680}" dt="2022-12-13T15:11:56.193" v="496"/>
        <pc:sldMkLst>
          <pc:docMk/>
          <pc:sldMk cId="2535056560" sldId="2147474866"/>
        </pc:sldMkLst>
        <pc:spChg chg="add mod">
          <ac:chgData name="Lechner, Pirmin (Allianz SE)" userId="S::pirmin.lechner@allianz.com::4ff95c5a-ccbc-4dc8-af2b-255f1ed8d179" providerId="AD" clId="Web-{95724DBC-560A-5999-B5B2-F29C36629680}" dt="2022-12-13T14:30:57.990" v="39" actId="20577"/>
          <ac:spMkLst>
            <pc:docMk/>
            <pc:sldMk cId="2535056560" sldId="2147474866"/>
            <ac:spMk id="3" creationId="{80D3A865-DC59-F91A-BF0E-272C0C723049}"/>
          </ac:spMkLst>
        </pc:spChg>
        <pc:spChg chg="add mod">
          <ac:chgData name="Lechner, Pirmin (Allianz SE)" userId="S::pirmin.lechner@allianz.com::4ff95c5a-ccbc-4dc8-af2b-255f1ed8d179" providerId="AD" clId="Web-{95724DBC-560A-5999-B5B2-F29C36629680}" dt="2022-12-13T14:53:40.276" v="282" actId="1076"/>
          <ac:spMkLst>
            <pc:docMk/>
            <pc:sldMk cId="2535056560" sldId="2147474866"/>
            <ac:spMk id="4" creationId="{66364610-6258-61F5-0D74-D2BE8C9210BC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4:53:40.261" v="281" actId="1076"/>
          <ac:spMkLst>
            <pc:docMk/>
            <pc:sldMk cId="2535056560" sldId="2147474866"/>
            <ac:spMk id="5" creationId="{45E28CDE-B077-4102-BD46-8FEF4C2D7A5A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4:31:03.944" v="40" actId="14100"/>
          <ac:spMkLst>
            <pc:docMk/>
            <pc:sldMk cId="2535056560" sldId="2147474866"/>
            <ac:spMk id="6" creationId="{F4A817E4-52F2-465E-B6BF-E8C669B80413}"/>
          </ac:spMkLst>
        </pc:spChg>
        <pc:spChg chg="del">
          <ac:chgData name="Lechner, Pirmin (Allianz SE)" userId="S::pirmin.lechner@allianz.com::4ff95c5a-ccbc-4dc8-af2b-255f1ed8d179" providerId="AD" clId="Web-{95724DBC-560A-5999-B5B2-F29C36629680}" dt="2022-12-13T14:33:22.433" v="67"/>
          <ac:spMkLst>
            <pc:docMk/>
            <pc:sldMk cId="2535056560" sldId="2147474866"/>
            <ac:spMk id="7" creationId="{48C1550A-2F41-4FBE-AB88-F739E650F224}"/>
          </ac:spMkLst>
        </pc:spChg>
        <pc:spChg chg="add del mod">
          <ac:chgData name="Lechner, Pirmin (Allianz SE)" userId="S::pirmin.lechner@allianz.com::4ff95c5a-ccbc-4dc8-af2b-255f1ed8d179" providerId="AD" clId="Web-{95724DBC-560A-5999-B5B2-F29C36629680}" dt="2022-12-13T14:35:13.250" v="89"/>
          <ac:spMkLst>
            <pc:docMk/>
            <pc:sldMk cId="2535056560" sldId="2147474866"/>
            <ac:spMk id="10" creationId="{0BCFA03A-06CE-B3B6-489B-9B2F1C05C9BA}"/>
          </ac:spMkLst>
        </pc:spChg>
        <pc:spChg chg="add mod">
          <ac:chgData name="Lechner, Pirmin (Allianz SE)" userId="S::pirmin.lechner@allianz.com::4ff95c5a-ccbc-4dc8-af2b-255f1ed8d179" providerId="AD" clId="Web-{95724DBC-560A-5999-B5B2-F29C36629680}" dt="2022-12-13T14:53:40.292" v="283" actId="1076"/>
          <ac:spMkLst>
            <pc:docMk/>
            <pc:sldMk cId="2535056560" sldId="2147474866"/>
            <ac:spMk id="11" creationId="{0BF7F9A5-D700-8AD0-3271-4A32CD6F5081}"/>
          </ac:spMkLst>
        </pc:spChg>
        <pc:graphicFrameChg chg="mod modGraphic">
          <ac:chgData name="Lechner, Pirmin (Allianz SE)" userId="S::pirmin.lechner@allianz.com::4ff95c5a-ccbc-4dc8-af2b-255f1ed8d179" providerId="AD" clId="Web-{95724DBC-560A-5999-B5B2-F29C36629680}" dt="2022-12-13T15:11:19.988" v="494"/>
          <ac:graphicFrameMkLst>
            <pc:docMk/>
            <pc:sldMk cId="2535056560" sldId="2147474866"/>
            <ac:graphicFrameMk id="2" creationId="{10DA3126-5AE2-4556-82F1-84DB3B02E3AD}"/>
          </ac:graphicFrameMkLst>
        </pc:graphicFrameChg>
        <pc:graphicFrameChg chg="add mod modGraphic">
          <ac:chgData name="Lechner, Pirmin (Allianz SE)" userId="S::pirmin.lechner@allianz.com::4ff95c5a-ccbc-4dc8-af2b-255f1ed8d179" providerId="AD" clId="Web-{95724DBC-560A-5999-B5B2-F29C36629680}" dt="2022-12-13T14:59:57.447" v="318"/>
          <ac:graphicFrameMkLst>
            <pc:docMk/>
            <pc:sldMk cId="2535056560" sldId="2147474866"/>
            <ac:graphicFrameMk id="8" creationId="{41F609CE-E04B-B401-5EE3-E68005C562B7}"/>
          </ac:graphicFrameMkLst>
        </pc:graphicFrameChg>
        <pc:graphicFrameChg chg="add mod modGraphic">
          <ac:chgData name="Lechner, Pirmin (Allianz SE)" userId="S::pirmin.lechner@allianz.com::4ff95c5a-ccbc-4dc8-af2b-255f1ed8d179" providerId="AD" clId="Web-{95724DBC-560A-5999-B5B2-F29C36629680}" dt="2022-12-13T15:11:56.193" v="496"/>
          <ac:graphicFrameMkLst>
            <pc:docMk/>
            <pc:sldMk cId="2535056560" sldId="2147474866"/>
            <ac:graphicFrameMk id="12" creationId="{E059C946-3976-955B-31BA-5DD01A6FC636}"/>
          </ac:graphicFrameMkLst>
        </pc:graphicFrameChg>
      </pc:sldChg>
      <pc:sldChg chg="modSp new del ord">
        <pc:chgData name="Lechner, Pirmin (Allianz SE)" userId="S::pirmin.lechner@allianz.com::4ff95c5a-ccbc-4dc8-af2b-255f1ed8d179" providerId="AD" clId="Web-{95724DBC-560A-5999-B5B2-F29C36629680}" dt="2022-12-13T14:57:03.628" v="304"/>
        <pc:sldMkLst>
          <pc:docMk/>
          <pc:sldMk cId="122793400" sldId="2147474867"/>
        </pc:sldMkLst>
        <pc:spChg chg="mod">
          <ac:chgData name="Lechner, Pirmin (Allianz SE)" userId="S::pirmin.lechner@allianz.com::4ff95c5a-ccbc-4dc8-af2b-255f1ed8d179" providerId="AD" clId="Web-{95724DBC-560A-5999-B5B2-F29C36629680}" dt="2022-12-13T14:33:16.230" v="66" actId="20577"/>
          <ac:spMkLst>
            <pc:docMk/>
            <pc:sldMk cId="122793400" sldId="2147474867"/>
            <ac:spMk id="4" creationId="{F779EF4D-1F01-E522-BB1E-1439519F2117}"/>
          </ac:spMkLst>
        </pc:spChg>
      </pc:sldChg>
      <pc:sldChg chg="modSp add replId">
        <pc:chgData name="Lechner, Pirmin (Allianz SE)" userId="S::pirmin.lechner@allianz.com::4ff95c5a-ccbc-4dc8-af2b-255f1ed8d179" providerId="AD" clId="Web-{95724DBC-560A-5999-B5B2-F29C36629680}" dt="2022-12-13T15:00:50.714" v="326"/>
        <pc:sldMkLst>
          <pc:docMk/>
          <pc:sldMk cId="2395899290" sldId="2147474869"/>
        </pc:sldMkLst>
        <pc:spChg chg="mod">
          <ac:chgData name="Lechner, Pirmin (Allianz SE)" userId="S::pirmin.lechner@allianz.com::4ff95c5a-ccbc-4dc8-af2b-255f1ed8d179" providerId="AD" clId="Web-{95724DBC-560A-5999-B5B2-F29C36629680}" dt="2022-12-13T14:54:29.731" v="289" actId="1076"/>
          <ac:spMkLst>
            <pc:docMk/>
            <pc:sldMk cId="2395899290" sldId="2147474869"/>
            <ac:spMk id="3" creationId="{80D3A865-DC59-F91A-BF0E-272C0C723049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4:54:29.747" v="290" actId="1076"/>
          <ac:spMkLst>
            <pc:docMk/>
            <pc:sldMk cId="2395899290" sldId="2147474869"/>
            <ac:spMk id="4" creationId="{66364610-6258-61F5-0D74-D2BE8C9210BC}"/>
          </ac:spMkLst>
        </pc:spChg>
        <pc:spChg chg="mod">
          <ac:chgData name="Lechner, Pirmin (Allianz SE)" userId="S::pirmin.lechner@allianz.com::4ff95c5a-ccbc-4dc8-af2b-255f1ed8d179" providerId="AD" clId="Web-{95724DBC-560A-5999-B5B2-F29C36629680}" dt="2022-12-13T14:54:29.778" v="292" actId="1076"/>
          <ac:spMkLst>
            <pc:docMk/>
            <pc:sldMk cId="2395899290" sldId="2147474869"/>
            <ac:spMk id="11" creationId="{0BF7F9A5-D700-8AD0-3271-4A32CD6F5081}"/>
          </ac:spMkLst>
        </pc:spChg>
        <pc:graphicFrameChg chg="mod modGraphic">
          <ac:chgData name="Lechner, Pirmin (Allianz SE)" userId="S::pirmin.lechner@allianz.com::4ff95c5a-ccbc-4dc8-af2b-255f1ed8d179" providerId="AD" clId="Web-{95724DBC-560A-5999-B5B2-F29C36629680}" dt="2022-12-13T15:00:28.260" v="322"/>
          <ac:graphicFrameMkLst>
            <pc:docMk/>
            <pc:sldMk cId="2395899290" sldId="2147474869"/>
            <ac:graphicFrameMk id="2" creationId="{10DA3126-5AE2-4556-82F1-84DB3B02E3AD}"/>
          </ac:graphicFrameMkLst>
        </pc:graphicFrameChg>
        <pc:graphicFrameChg chg="mod modGraphic">
          <ac:chgData name="Lechner, Pirmin (Allianz SE)" userId="S::pirmin.lechner@allianz.com::4ff95c5a-ccbc-4dc8-af2b-255f1ed8d179" providerId="AD" clId="Web-{95724DBC-560A-5999-B5B2-F29C36629680}" dt="2022-12-13T15:00:38.339" v="324"/>
          <ac:graphicFrameMkLst>
            <pc:docMk/>
            <pc:sldMk cId="2395899290" sldId="2147474869"/>
            <ac:graphicFrameMk id="8" creationId="{41F609CE-E04B-B401-5EE3-E68005C562B7}"/>
          </ac:graphicFrameMkLst>
        </pc:graphicFrameChg>
        <pc:graphicFrameChg chg="mod modGraphic">
          <ac:chgData name="Lechner, Pirmin (Allianz SE)" userId="S::pirmin.lechner@allianz.com::4ff95c5a-ccbc-4dc8-af2b-255f1ed8d179" providerId="AD" clId="Web-{95724DBC-560A-5999-B5B2-F29C36629680}" dt="2022-12-13T15:00:50.714" v="326"/>
          <ac:graphicFrameMkLst>
            <pc:docMk/>
            <pc:sldMk cId="2395899290" sldId="2147474869"/>
            <ac:graphicFrameMk id="12" creationId="{E059C946-3976-955B-31BA-5DD01A6FC636}"/>
          </ac:graphicFrameMkLst>
        </pc:graphicFrame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5:37.521" v="570" actId="20577"/>
        <pc:sldMkLst>
          <pc:docMk/>
          <pc:sldMk cId="279521211" sldId="2147474870"/>
        </pc:sldMkLst>
        <pc:spChg chg="mod">
          <ac:chgData name="Lechner, Pirmin (Allianz SE)" userId="S::pirmin.lechner@allianz.com::4ff95c5a-ccbc-4dc8-af2b-255f1ed8d179" providerId="AD" clId="Web-{95724DBC-560A-5999-B5B2-F29C36629680}" dt="2022-12-13T15:25:37.521" v="570" actId="20577"/>
          <ac:spMkLst>
            <pc:docMk/>
            <pc:sldMk cId="279521211" sldId="2147474870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4:41.925" v="559"/>
          <ac:spMkLst>
            <pc:docMk/>
            <pc:sldMk cId="279521211" sldId="2147474870"/>
            <ac:spMk id="5" creationId="{F64C3D9A-51DE-4813-6CE4-21FB60603740}"/>
          </ac:spMkLst>
        </pc:sp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5:50.896" v="571"/>
        <pc:sldMkLst>
          <pc:docMk/>
          <pc:sldMk cId="300464040" sldId="2147474871"/>
        </pc:sldMkLst>
        <pc:spChg chg="mod">
          <ac:chgData name="Lechner, Pirmin (Allianz SE)" userId="S::pirmin.lechner@allianz.com::4ff95c5a-ccbc-4dc8-af2b-255f1ed8d179" providerId="AD" clId="Web-{95724DBC-560A-5999-B5B2-F29C36629680}" dt="2022-12-13T15:03:09.251" v="351" actId="20577"/>
          <ac:spMkLst>
            <pc:docMk/>
            <pc:sldMk cId="300464040" sldId="2147474871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5:50.896" v="571"/>
          <ac:spMkLst>
            <pc:docMk/>
            <pc:sldMk cId="300464040" sldId="2147474871"/>
            <ac:spMk id="5" creationId="{8C54BDE0-A775-E156-36E6-4DB49E9F2298}"/>
          </ac:spMkLst>
        </pc:sp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5:56.209" v="572"/>
        <pc:sldMkLst>
          <pc:docMk/>
          <pc:sldMk cId="3291848671" sldId="2147474872"/>
        </pc:sldMkLst>
        <pc:spChg chg="mod">
          <ac:chgData name="Lechner, Pirmin (Allianz SE)" userId="S::pirmin.lechner@allianz.com::4ff95c5a-ccbc-4dc8-af2b-255f1ed8d179" providerId="AD" clId="Web-{95724DBC-560A-5999-B5B2-F29C36629680}" dt="2022-12-13T15:03:38.971" v="381" actId="20577"/>
          <ac:spMkLst>
            <pc:docMk/>
            <pc:sldMk cId="3291848671" sldId="2147474872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5:56.209" v="572"/>
          <ac:spMkLst>
            <pc:docMk/>
            <pc:sldMk cId="3291848671" sldId="2147474872"/>
            <ac:spMk id="5" creationId="{F07DE9D8-1DDA-46B0-5F1F-22372D9C36F7}"/>
          </ac:spMkLst>
        </pc:sp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6:02.475" v="573"/>
        <pc:sldMkLst>
          <pc:docMk/>
          <pc:sldMk cId="1486284374" sldId="2147474873"/>
        </pc:sldMkLst>
        <pc:spChg chg="mod">
          <ac:chgData name="Lechner, Pirmin (Allianz SE)" userId="S::pirmin.lechner@allianz.com::4ff95c5a-ccbc-4dc8-af2b-255f1ed8d179" providerId="AD" clId="Web-{95724DBC-560A-5999-B5B2-F29C36629680}" dt="2022-12-13T15:04:18.300" v="405" actId="20577"/>
          <ac:spMkLst>
            <pc:docMk/>
            <pc:sldMk cId="1486284374" sldId="2147474873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6:02.475" v="573"/>
          <ac:spMkLst>
            <pc:docMk/>
            <pc:sldMk cId="1486284374" sldId="2147474873"/>
            <ac:spMk id="5" creationId="{C1F605B0-FD6C-8B11-A200-CB7F6B682143}"/>
          </ac:spMkLst>
        </pc:sp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9:11.435" v="676"/>
        <pc:sldMkLst>
          <pc:docMk/>
          <pc:sldMk cId="845855465" sldId="2147474874"/>
        </pc:sldMkLst>
        <pc:spChg chg="mod">
          <ac:chgData name="Lechner, Pirmin (Allianz SE)" userId="S::pirmin.lechner@allianz.com::4ff95c5a-ccbc-4dc8-af2b-255f1ed8d179" providerId="AD" clId="Web-{95724DBC-560A-5999-B5B2-F29C36629680}" dt="2022-12-13T15:05:50.945" v="418" actId="20577"/>
          <ac:spMkLst>
            <pc:docMk/>
            <pc:sldMk cId="845855465" sldId="2147474874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9:11.435" v="676"/>
          <ac:spMkLst>
            <pc:docMk/>
            <pc:sldMk cId="845855465" sldId="2147474874"/>
            <ac:spMk id="5" creationId="{7B8AF8CC-DA56-08C0-5C26-26CF82FD383D}"/>
          </ac:spMkLst>
        </pc:spChg>
      </pc:sldChg>
      <pc:sldChg chg="addSp modSp add ord replId">
        <pc:chgData name="Lechner, Pirmin (Allianz SE)" userId="S::pirmin.lechner@allianz.com::4ff95c5a-ccbc-4dc8-af2b-255f1ed8d179" providerId="AD" clId="Web-{95724DBC-560A-5999-B5B2-F29C36629680}" dt="2022-12-13T15:29:15.732" v="677"/>
        <pc:sldMkLst>
          <pc:docMk/>
          <pc:sldMk cId="1138679192" sldId="2147474875"/>
        </pc:sldMkLst>
        <pc:spChg chg="mod">
          <ac:chgData name="Lechner, Pirmin (Allianz SE)" userId="S::pirmin.lechner@allianz.com::4ff95c5a-ccbc-4dc8-af2b-255f1ed8d179" providerId="AD" clId="Web-{95724DBC-560A-5999-B5B2-F29C36629680}" dt="2022-12-13T15:06:19.086" v="430" actId="20577"/>
          <ac:spMkLst>
            <pc:docMk/>
            <pc:sldMk cId="1138679192" sldId="2147474875"/>
            <ac:spMk id="3" creationId="{21257603-DCD1-7CD1-FDA0-5EFC1D66729E}"/>
          </ac:spMkLst>
        </pc:spChg>
        <pc:spChg chg="add">
          <ac:chgData name="Lechner, Pirmin (Allianz SE)" userId="S::pirmin.lechner@allianz.com::4ff95c5a-ccbc-4dc8-af2b-255f1ed8d179" providerId="AD" clId="Web-{95724DBC-560A-5999-B5B2-F29C36629680}" dt="2022-12-13T15:29:15.732" v="677"/>
          <ac:spMkLst>
            <pc:docMk/>
            <pc:sldMk cId="1138679192" sldId="2147474875"/>
            <ac:spMk id="5" creationId="{75AD025A-7D40-7D7F-51BD-D73C7A559C2F}"/>
          </ac:spMkLst>
        </pc:spChg>
      </pc:sldChg>
      <pc:sldChg chg="modSp add ord replId">
        <pc:chgData name="Lechner, Pirmin (Allianz SE)" userId="S::pirmin.lechner@allianz.com::4ff95c5a-ccbc-4dc8-af2b-255f1ed8d179" providerId="AD" clId="Web-{95724DBC-560A-5999-B5B2-F29C36629680}" dt="2022-12-13T15:29:24.998" v="678" actId="20577"/>
        <pc:sldMkLst>
          <pc:docMk/>
          <pc:sldMk cId="2571281683" sldId="2147474876"/>
        </pc:sldMkLst>
        <pc:spChg chg="mod">
          <ac:chgData name="Lechner, Pirmin (Allianz SE)" userId="S::pirmin.lechner@allianz.com::4ff95c5a-ccbc-4dc8-af2b-255f1ed8d179" providerId="AD" clId="Web-{95724DBC-560A-5999-B5B2-F29C36629680}" dt="2022-12-13T15:29:24.998" v="678" actId="20577"/>
          <ac:spMkLst>
            <pc:docMk/>
            <pc:sldMk cId="2571281683" sldId="2147474876"/>
            <ac:spMk id="3" creationId="{21257603-DCD1-7CD1-FDA0-5EFC1D66729E}"/>
          </ac:spMkLst>
        </pc:spChg>
      </pc:sldChg>
      <pc:sldChg chg="modSp add ord replId">
        <pc:chgData name="Lechner, Pirmin (Allianz SE)" userId="S::pirmin.lechner@allianz.com::4ff95c5a-ccbc-4dc8-af2b-255f1ed8d179" providerId="AD" clId="Web-{95724DBC-560A-5999-B5B2-F29C36629680}" dt="2022-12-13T15:26:38.367" v="575" actId="20577"/>
        <pc:sldMkLst>
          <pc:docMk/>
          <pc:sldMk cId="3602453180" sldId="2147474877"/>
        </pc:sldMkLst>
        <pc:spChg chg="mod">
          <ac:chgData name="Lechner, Pirmin (Allianz SE)" userId="S::pirmin.lechner@allianz.com::4ff95c5a-ccbc-4dc8-af2b-255f1ed8d179" providerId="AD" clId="Web-{95724DBC-560A-5999-B5B2-F29C36629680}" dt="2022-12-13T15:26:38.367" v="575" actId="20577"/>
          <ac:spMkLst>
            <pc:docMk/>
            <pc:sldMk cId="3602453180" sldId="2147474877"/>
            <ac:spMk id="3" creationId="{21257603-DCD1-7CD1-FDA0-5EFC1D66729E}"/>
          </ac:spMkLst>
        </pc:spChg>
      </pc:sldChg>
    </pc:docChg>
  </pc:docChgLst>
  <pc:docChgLst>
    <pc:chgData name="Hughes, Maximilian (Allianz SE)" userId="S::maximilian.hughes@allianz.com::8b6e1f16-7bab-4630-9a61-b47c1b7fe2d8" providerId="AD" clId="Web-{6BE4AA90-00D5-F97D-4AE6-EB51A27065A4}"/>
    <pc:docChg chg="modSld sldOrd">
      <pc:chgData name="Hughes, Maximilian (Allianz SE)" userId="S::maximilian.hughes@allianz.com::8b6e1f16-7bab-4630-9a61-b47c1b7fe2d8" providerId="AD" clId="Web-{6BE4AA90-00D5-F97D-4AE6-EB51A27065A4}" dt="2022-12-22T15:59:16.221" v="78" actId="20577"/>
      <pc:docMkLst>
        <pc:docMk/>
      </pc:docMkLst>
      <pc:sldChg chg="ord">
        <pc:chgData name="Hughes, Maximilian (Allianz SE)" userId="S::maximilian.hughes@allianz.com::8b6e1f16-7bab-4630-9a61-b47c1b7fe2d8" providerId="AD" clId="Web-{6BE4AA90-00D5-F97D-4AE6-EB51A27065A4}" dt="2022-12-22T15:57:56.106" v="68"/>
        <pc:sldMkLst>
          <pc:docMk/>
          <pc:sldMk cId="202545387" sldId="315"/>
        </pc:sldMkLst>
      </pc:sldChg>
      <pc:sldChg chg="ord">
        <pc:chgData name="Hughes, Maximilian (Allianz SE)" userId="S::maximilian.hughes@allianz.com::8b6e1f16-7bab-4630-9a61-b47c1b7fe2d8" providerId="AD" clId="Web-{6BE4AA90-00D5-F97D-4AE6-EB51A27065A4}" dt="2022-12-22T15:57:55.715" v="67"/>
        <pc:sldMkLst>
          <pc:docMk/>
          <pc:sldMk cId="2615612162" sldId="320"/>
        </pc:sldMkLst>
      </pc:sldChg>
      <pc:sldChg chg="addSp modSp">
        <pc:chgData name="Hughes, Maximilian (Allianz SE)" userId="S::maximilian.hughes@allianz.com::8b6e1f16-7bab-4630-9a61-b47c1b7fe2d8" providerId="AD" clId="Web-{6BE4AA90-00D5-F97D-4AE6-EB51A27065A4}" dt="2022-12-22T15:59:16.221" v="78" actId="20577"/>
        <pc:sldMkLst>
          <pc:docMk/>
          <pc:sldMk cId="2704156487" sldId="2147474863"/>
        </pc:sldMkLst>
        <pc:spChg chg="mod">
          <ac:chgData name="Hughes, Maximilian (Allianz SE)" userId="S::maximilian.hughes@allianz.com::8b6e1f16-7bab-4630-9a61-b47c1b7fe2d8" providerId="AD" clId="Web-{6BE4AA90-00D5-F97D-4AE6-EB51A27065A4}" dt="2022-12-22T15:55:32.283" v="46" actId="20577"/>
          <ac:spMkLst>
            <pc:docMk/>
            <pc:sldMk cId="2704156487" sldId="2147474863"/>
            <ac:spMk id="3" creationId="{21257603-DCD1-7CD1-FDA0-5EFC1D66729E}"/>
          </ac:spMkLst>
        </pc:spChg>
        <pc:spChg chg="mod">
          <ac:chgData name="Hughes, Maximilian (Allianz SE)" userId="S::maximilian.hughes@allianz.com::8b6e1f16-7bab-4630-9a61-b47c1b7fe2d8" providerId="AD" clId="Web-{6BE4AA90-00D5-F97D-4AE6-EB51A27065A4}" dt="2022-12-22T15:59:16.221" v="78" actId="20577"/>
          <ac:spMkLst>
            <pc:docMk/>
            <pc:sldMk cId="2704156487" sldId="2147474863"/>
            <ac:spMk id="4" creationId="{F1198C50-2AD8-D98E-61BE-C03E08C11001}"/>
          </ac:spMkLst>
        </pc:spChg>
        <pc:spChg chg="add">
          <ac:chgData name="Hughes, Maximilian (Allianz SE)" userId="S::maximilian.hughes@allianz.com::8b6e1f16-7bab-4630-9a61-b47c1b7fe2d8" providerId="AD" clId="Web-{6BE4AA90-00D5-F97D-4AE6-EB51A27065A4}" dt="2022-12-22T15:53:30.368" v="20"/>
          <ac:spMkLst>
            <pc:docMk/>
            <pc:sldMk cId="2704156487" sldId="2147474863"/>
            <ac:spMk id="6" creationId="{7AEC1A46-039C-2E27-E0D8-A932850174FD}"/>
          </ac:spMkLst>
        </pc:spChg>
      </pc:sldChg>
      <pc:sldChg chg="ord">
        <pc:chgData name="Hughes, Maximilian (Allianz SE)" userId="S::maximilian.hughes@allianz.com::8b6e1f16-7bab-4630-9a61-b47c1b7fe2d8" providerId="AD" clId="Web-{6BE4AA90-00D5-F97D-4AE6-EB51A27065A4}" dt="2022-12-22T15:57:41.105" v="65"/>
        <pc:sldMkLst>
          <pc:docMk/>
          <pc:sldMk cId="2535056560" sldId="2147474866"/>
        </pc:sldMkLst>
      </pc:sldChg>
      <pc:sldChg chg="ord">
        <pc:chgData name="Hughes, Maximilian (Allianz SE)" userId="S::maximilian.hughes@allianz.com::8b6e1f16-7bab-4630-9a61-b47c1b7fe2d8" providerId="AD" clId="Web-{6BE4AA90-00D5-F97D-4AE6-EB51A27065A4}" dt="2022-12-22T15:57:47.699" v="66"/>
        <pc:sldMkLst>
          <pc:docMk/>
          <pc:sldMk cId="2395899290" sldId="2147474869"/>
        </pc:sldMkLst>
      </pc:sldChg>
      <pc:sldChg chg="addSp modSp">
        <pc:chgData name="Hughes, Maximilian (Allianz SE)" userId="S::maximilian.hughes@allianz.com::8b6e1f16-7bab-4630-9a61-b47c1b7fe2d8" providerId="AD" clId="Web-{6BE4AA90-00D5-F97D-4AE6-EB51A27065A4}" dt="2022-12-22T10:18:26.613" v="6" actId="1076"/>
        <pc:sldMkLst>
          <pc:docMk/>
          <pc:sldMk cId="1360301573" sldId="2147474889"/>
        </pc:sldMkLst>
        <pc:spChg chg="add mod">
          <ac:chgData name="Hughes, Maximilian (Allianz SE)" userId="S::maximilian.hughes@allianz.com::8b6e1f16-7bab-4630-9a61-b47c1b7fe2d8" providerId="AD" clId="Web-{6BE4AA90-00D5-F97D-4AE6-EB51A27065A4}" dt="2022-12-22T10:18:26.613" v="6" actId="1076"/>
          <ac:spMkLst>
            <pc:docMk/>
            <pc:sldMk cId="1360301573" sldId="2147474889"/>
            <ac:spMk id="5" creationId="{740B1BE9-AF7A-1F39-21A2-38A4851780D9}"/>
          </ac:spMkLst>
        </pc:spChg>
      </pc:sldChg>
      <pc:sldChg chg="addSp delSp modSp">
        <pc:chgData name="Hughes, Maximilian (Allianz SE)" userId="S::maximilian.hughes@allianz.com::8b6e1f16-7bab-4630-9a61-b47c1b7fe2d8" providerId="AD" clId="Web-{6BE4AA90-00D5-F97D-4AE6-EB51A27065A4}" dt="2022-12-22T10:19:31.850" v="16"/>
        <pc:sldMkLst>
          <pc:docMk/>
          <pc:sldMk cId="577090387" sldId="2147474892"/>
        </pc:sldMkLst>
        <pc:spChg chg="add del mod">
          <ac:chgData name="Hughes, Maximilian (Allianz SE)" userId="S::maximilian.hughes@allianz.com::8b6e1f16-7bab-4630-9a61-b47c1b7fe2d8" providerId="AD" clId="Web-{6BE4AA90-00D5-F97D-4AE6-EB51A27065A4}" dt="2022-12-22T10:18:37.207" v="9"/>
          <ac:spMkLst>
            <pc:docMk/>
            <pc:sldMk cId="577090387" sldId="2147474892"/>
            <ac:spMk id="5" creationId="{9F258182-1F0A-AEC5-9FC8-EB0DA652814B}"/>
          </ac:spMkLst>
        </pc:spChg>
        <pc:spChg chg="add del mod">
          <ac:chgData name="Hughes, Maximilian (Allianz SE)" userId="S::maximilian.hughes@allianz.com::8b6e1f16-7bab-4630-9a61-b47c1b7fe2d8" providerId="AD" clId="Web-{6BE4AA90-00D5-F97D-4AE6-EB51A27065A4}" dt="2022-12-22T10:18:57.646" v="12"/>
          <ac:spMkLst>
            <pc:docMk/>
            <pc:sldMk cId="577090387" sldId="2147474892"/>
            <ac:spMk id="7" creationId="{AAD9D20C-32E5-BF07-C1FC-EC190AFAADED}"/>
          </ac:spMkLst>
        </pc:spChg>
        <pc:spChg chg="add del mod">
          <ac:chgData name="Hughes, Maximilian (Allianz SE)" userId="S::maximilian.hughes@allianz.com::8b6e1f16-7bab-4630-9a61-b47c1b7fe2d8" providerId="AD" clId="Web-{6BE4AA90-00D5-F97D-4AE6-EB51A27065A4}" dt="2022-12-22T10:19:19.959" v="15"/>
          <ac:spMkLst>
            <pc:docMk/>
            <pc:sldMk cId="577090387" sldId="2147474892"/>
            <ac:spMk id="10" creationId="{27C2C22E-6AFD-345E-F9F0-21CB34A5AC23}"/>
          </ac:spMkLst>
        </pc:spChg>
        <pc:spChg chg="add">
          <ac:chgData name="Hughes, Maximilian (Allianz SE)" userId="S::maximilian.hughes@allianz.com::8b6e1f16-7bab-4630-9a61-b47c1b7fe2d8" providerId="AD" clId="Web-{6BE4AA90-00D5-F97D-4AE6-EB51A27065A4}" dt="2022-12-22T10:19:31.850" v="16"/>
          <ac:spMkLst>
            <pc:docMk/>
            <pc:sldMk cId="577090387" sldId="2147474892"/>
            <ac:spMk id="13" creationId="{0A40AB54-5946-9E1D-CC17-55EBC1E4EA5A}"/>
          </ac:spMkLst>
        </pc:spChg>
      </pc:sldChg>
      <pc:sldChg chg="addSp">
        <pc:chgData name="Hughes, Maximilian (Allianz SE)" userId="S::maximilian.hughes@allianz.com::8b6e1f16-7bab-4630-9a61-b47c1b7fe2d8" providerId="AD" clId="Web-{6BE4AA90-00D5-F97D-4AE6-EB51A27065A4}" dt="2022-12-22T10:19:35.601" v="17"/>
        <pc:sldMkLst>
          <pc:docMk/>
          <pc:sldMk cId="4100212379" sldId="2147474893"/>
        </pc:sldMkLst>
        <pc:spChg chg="add">
          <ac:chgData name="Hughes, Maximilian (Allianz SE)" userId="S::maximilian.hughes@allianz.com::8b6e1f16-7bab-4630-9a61-b47c1b7fe2d8" providerId="AD" clId="Web-{6BE4AA90-00D5-F97D-4AE6-EB51A27065A4}" dt="2022-12-22T10:19:35.601" v="17"/>
          <ac:spMkLst>
            <pc:docMk/>
            <pc:sldMk cId="4100212379" sldId="2147474893"/>
            <ac:spMk id="5" creationId="{0F918D0F-46EA-7072-8642-17EC75977FD0}"/>
          </ac:spMkLst>
        </pc:spChg>
      </pc:sldChg>
      <pc:sldChg chg="addSp">
        <pc:chgData name="Hughes, Maximilian (Allianz SE)" userId="S::maximilian.hughes@allianz.com::8b6e1f16-7bab-4630-9a61-b47c1b7fe2d8" providerId="AD" clId="Web-{6BE4AA90-00D5-F97D-4AE6-EB51A27065A4}" dt="2022-12-22T10:19:38.882" v="18"/>
        <pc:sldMkLst>
          <pc:docMk/>
          <pc:sldMk cId="1144800238" sldId="2147474894"/>
        </pc:sldMkLst>
        <pc:spChg chg="add">
          <ac:chgData name="Hughes, Maximilian (Allianz SE)" userId="S::maximilian.hughes@allianz.com::8b6e1f16-7bab-4630-9a61-b47c1b7fe2d8" providerId="AD" clId="Web-{6BE4AA90-00D5-F97D-4AE6-EB51A27065A4}" dt="2022-12-22T10:19:38.882" v="18"/>
          <ac:spMkLst>
            <pc:docMk/>
            <pc:sldMk cId="1144800238" sldId="2147474894"/>
            <ac:spMk id="5" creationId="{F293B22E-7E9B-A0EE-1607-0088CD356E91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605-41D9-8DB3-BBB95B18DFD4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605-41D9-8DB3-BBB95B18DFD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605-41D9-8DB3-BBB95B18DFD4}"/>
              </c:ext>
            </c:extLst>
          </c:dPt>
          <c:dPt>
            <c:idx val="3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605-41D9-8DB3-BBB95B18DFD4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05-41D9-8DB3-BBB95B18D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131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620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224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58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203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926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65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openxmlformats.org/officeDocument/2006/relationships/tags" Target="../tags/tag84.xml"/><Relationship Id="rId7" Type="http://schemas.openxmlformats.org/officeDocument/2006/relationships/oleObject" Target="../embeddings/oleObject2.bin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6.xml"/><Relationship Id="rId10" Type="http://schemas.openxmlformats.org/officeDocument/2006/relationships/image" Target="../media/image77.svg"/><Relationship Id="rId4" Type="http://schemas.openxmlformats.org/officeDocument/2006/relationships/tags" Target="../tags/tag85.xml"/><Relationship Id="rId9" Type="http://schemas.openxmlformats.org/officeDocument/2006/relationships/image" Target="../media/image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2.sv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1.png"/><Relationship Id="rId5" Type="http://schemas.openxmlformats.org/officeDocument/2006/relationships/tags" Target="../tags/tag91.xml"/><Relationship Id="rId10" Type="http://schemas.openxmlformats.org/officeDocument/2006/relationships/image" Target="../media/image11.emf"/><Relationship Id="rId4" Type="http://schemas.openxmlformats.org/officeDocument/2006/relationships/tags" Target="../tags/tag90.xml"/><Relationship Id="rId9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2.svg"/><Relationship Id="rId5" Type="http://schemas.openxmlformats.org/officeDocument/2006/relationships/tags" Target="../tags/tag98.xml"/><Relationship Id="rId10" Type="http://schemas.openxmlformats.org/officeDocument/2006/relationships/image" Target="../media/image1.png"/><Relationship Id="rId4" Type="http://schemas.openxmlformats.org/officeDocument/2006/relationships/tags" Target="../tags/tag97.xml"/><Relationship Id="rId9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image" Target="../media/image2.svg"/><Relationship Id="rId5" Type="http://schemas.openxmlformats.org/officeDocument/2006/relationships/tags" Target="../tags/tag104.xml"/><Relationship Id="rId10" Type="http://schemas.openxmlformats.org/officeDocument/2006/relationships/image" Target="../media/image1.png"/><Relationship Id="rId4" Type="http://schemas.openxmlformats.org/officeDocument/2006/relationships/tags" Target="../tags/tag103.xml"/><Relationship Id="rId9" Type="http://schemas.openxmlformats.org/officeDocument/2006/relationships/image" Target="../media/image76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2.svg"/><Relationship Id="rId5" Type="http://schemas.openxmlformats.org/officeDocument/2006/relationships/tags" Target="../tags/tag110.xml"/><Relationship Id="rId10" Type="http://schemas.openxmlformats.org/officeDocument/2006/relationships/image" Target="../media/image1.png"/><Relationship Id="rId4" Type="http://schemas.openxmlformats.org/officeDocument/2006/relationships/tags" Target="../tags/tag109.xml"/><Relationship Id="rId9" Type="http://schemas.openxmlformats.org/officeDocument/2006/relationships/image" Target="../media/image76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1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image" Target="../media/image2.svg"/><Relationship Id="rId5" Type="http://schemas.openxmlformats.org/officeDocument/2006/relationships/tags" Target="../tags/tag116.xml"/><Relationship Id="rId10" Type="http://schemas.openxmlformats.org/officeDocument/2006/relationships/image" Target="../media/image1.png"/><Relationship Id="rId4" Type="http://schemas.openxmlformats.org/officeDocument/2006/relationships/tags" Target="../tags/tag115.xml"/><Relationship Id="rId9" Type="http://schemas.openxmlformats.org/officeDocument/2006/relationships/image" Target="../media/image76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openxmlformats.org/officeDocument/2006/relationships/tags" Target="../tags/tag120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.sv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1.png"/><Relationship Id="rId5" Type="http://schemas.openxmlformats.org/officeDocument/2006/relationships/tags" Target="../tags/tag122.xml"/><Relationship Id="rId10" Type="http://schemas.openxmlformats.org/officeDocument/2006/relationships/image" Target="../media/image6.svg"/><Relationship Id="rId4" Type="http://schemas.openxmlformats.org/officeDocument/2006/relationships/tags" Target="../tags/tag121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image" Target="../media/image2.svg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1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image" Target="../media/image11.emf"/><Relationship Id="rId5" Type="http://schemas.openxmlformats.org/officeDocument/2006/relationships/tags" Target="../tags/tag127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26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image" Target="../media/image2.svg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12" Type="http://schemas.openxmlformats.org/officeDocument/2006/relationships/image" Target="../media/image1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image" Target="../media/image11.emf"/><Relationship Id="rId5" Type="http://schemas.openxmlformats.org/officeDocument/2006/relationships/tags" Target="../tags/tag135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34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2.sv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image" Target="../media/image1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2.svg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1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image" Target="../media/image78.emf"/><Relationship Id="rId5" Type="http://schemas.openxmlformats.org/officeDocument/2006/relationships/tags" Target="../tags/tag15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image" Target="../media/image2.svg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image" Target="../media/image1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image" Target="../media/image11.emf"/><Relationship Id="rId5" Type="http://schemas.openxmlformats.org/officeDocument/2006/relationships/tags" Target="../tags/tag159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58.xml"/><Relationship Id="rId9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emf"/><Relationship Id="rId3" Type="http://schemas.openxmlformats.org/officeDocument/2006/relationships/tags" Target="../tags/tag16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7.xml"/><Relationship Id="rId10" Type="http://schemas.openxmlformats.org/officeDocument/2006/relationships/image" Target="../media/image2.svg"/><Relationship Id="rId4" Type="http://schemas.openxmlformats.org/officeDocument/2006/relationships/tags" Target="../tags/tag166.xml"/><Relationship Id="rId9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70.xml"/><Relationship Id="rId7" Type="http://schemas.openxmlformats.org/officeDocument/2006/relationships/image" Target="../media/image76.emf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1.xml"/><Relationship Id="rId9" Type="http://schemas.openxmlformats.org/officeDocument/2006/relationships/image" Target="../media/image2.sv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image" Target="../media/image2.svg"/><Relationship Id="rId5" Type="http://schemas.openxmlformats.org/officeDocument/2006/relationships/tags" Target="../tags/tag176.xml"/><Relationship Id="rId10" Type="http://schemas.openxmlformats.org/officeDocument/2006/relationships/image" Target="../media/image1.png"/><Relationship Id="rId4" Type="http://schemas.openxmlformats.org/officeDocument/2006/relationships/tags" Target="../tags/tag175.xml"/><Relationship Id="rId9" Type="http://schemas.openxmlformats.org/officeDocument/2006/relationships/image" Target="../media/image1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8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2.svg"/><Relationship Id="rId5" Type="http://schemas.openxmlformats.org/officeDocument/2006/relationships/tags" Target="../tags/tag182.xml"/><Relationship Id="rId10" Type="http://schemas.openxmlformats.org/officeDocument/2006/relationships/image" Target="../media/image1.png"/><Relationship Id="rId4" Type="http://schemas.openxmlformats.org/officeDocument/2006/relationships/tags" Target="../tags/tag181.xml"/><Relationship Id="rId9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86.xml"/><Relationship Id="rId7" Type="http://schemas.openxmlformats.org/officeDocument/2006/relationships/image" Target="../media/image11.emf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7.xml"/><Relationship Id="rId9" Type="http://schemas.openxmlformats.org/officeDocument/2006/relationships/image" Target="../media/image2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76.e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79.jpeg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2387600" y="8953500"/>
            <a:ext cx="19621500" cy="58552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200" i="1"/>
            </a:lvl1pPr>
          </a:lstStyle>
          <a:p>
            <a:r>
              <a:t>–Johnny Appleseed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2387600" y="6076950"/>
            <a:ext cx="19621500" cy="8255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4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46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586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4" y="978593"/>
            <a:ext cx="18649948" cy="17741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849" y="2752727"/>
            <a:ext cx="22466302" cy="9578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729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46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58849" y="3616327"/>
            <a:ext cx="11017250" cy="8715374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407901" y="3616327"/>
            <a:ext cx="11017250" cy="8715374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692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46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4" y="1750618"/>
            <a:ext cx="18649948" cy="18657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58849" y="3616327"/>
            <a:ext cx="7200902" cy="8715374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91553" y="3616327"/>
            <a:ext cx="7200898" cy="8715374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6224253" y="3616327"/>
            <a:ext cx="7200898" cy="8715374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10362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46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4" y="1750618"/>
            <a:ext cx="18649948" cy="18657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58850" y="3616326"/>
            <a:ext cx="7200900" cy="396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58849" y="8371702"/>
            <a:ext cx="7200902" cy="3960000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91552" y="3616326"/>
            <a:ext cx="7200900" cy="396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91553" y="8371702"/>
            <a:ext cx="7200898" cy="3960000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6224252" y="3616326"/>
            <a:ext cx="7200900" cy="396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6224253" y="8371702"/>
            <a:ext cx="7200898" cy="3960000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091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7856000" cy="12168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504001" y="2664000"/>
            <a:ext cx="4921150" cy="9504000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1518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4112000" cy="118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64001" y="3616326"/>
            <a:ext cx="8161150" cy="8263676"/>
          </a:xfrm>
        </p:spPr>
        <p:txBody>
          <a:bodyPr/>
          <a:lstStyle>
            <a:lvl1pPr>
              <a:lnSpc>
                <a:spcPts val="7600"/>
              </a:lnSpc>
              <a:spcAft>
                <a:spcPts val="4800"/>
              </a:spcAft>
              <a:defRPr sz="7600" b="0"/>
            </a:lvl1pPr>
            <a:lvl2pPr marL="0" indent="0">
              <a:buNone/>
              <a:defRPr sz="40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93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mage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50" y="952500"/>
            <a:ext cx="720090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49" y="1746251"/>
            <a:ext cx="7200902" cy="28797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91551" y="-2"/>
            <a:ext cx="15792450" cy="9936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58853" y="5126401"/>
            <a:ext cx="7200898" cy="4809598"/>
          </a:xfrm>
        </p:spPr>
        <p:txBody>
          <a:bodyPr anchor="b" anchorCtr="0"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1384000" y="1008000"/>
            <a:ext cx="2037600" cy="50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6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777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50" y="952500"/>
            <a:ext cx="720090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58853" y="6336000"/>
            <a:ext cx="7200898" cy="5995700"/>
          </a:xfrm>
        </p:spPr>
        <p:txBody>
          <a:bodyPr anchor="t" anchorCtr="0"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976100" y="2016002"/>
            <a:ext cx="12407900" cy="11700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49" y="1746251"/>
            <a:ext cx="7200902" cy="28797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92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51" y="952500"/>
            <a:ext cx="1101725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48" y="1746251"/>
            <a:ext cx="11017252" cy="2879726"/>
          </a:xfrm>
        </p:spPr>
        <p:txBody>
          <a:bodyPr/>
          <a:lstStyle>
            <a:lvl1pPr>
              <a:lnSpc>
                <a:spcPts val="17000"/>
              </a:lnSpc>
              <a:defRPr sz="17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58853" y="8352000"/>
            <a:ext cx="7632698" cy="3979700"/>
          </a:xfrm>
        </p:spPr>
        <p:txBody>
          <a:bodyPr anchor="t" anchorCtr="0"/>
          <a:lstStyle>
            <a:lvl1pPr>
              <a:defRPr sz="3200" b="0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07904" y="2088000"/>
            <a:ext cx="4176000" cy="4464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280000" y="2088000"/>
            <a:ext cx="4752000" cy="4464000"/>
          </a:xfrm>
        </p:spPr>
        <p:txBody>
          <a:bodyPr anchor="ctr" anchorCtr="0"/>
          <a:lstStyle>
            <a:lvl1pPr>
              <a:defRPr sz="3200" b="0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407904" y="7164002"/>
            <a:ext cx="4176000" cy="4464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280000" y="7164002"/>
            <a:ext cx="4752000" cy="4464000"/>
          </a:xfrm>
        </p:spPr>
        <p:txBody>
          <a:bodyPr anchor="ctr" anchorCtr="0"/>
          <a:lstStyle>
            <a:lvl1pPr>
              <a:defRPr sz="3200" b="0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941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6224250" cy="13716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8851" y="952500"/>
            <a:ext cx="1144905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5" y="3616325"/>
            <a:ext cx="11449046" cy="8715374"/>
          </a:xfrm>
        </p:spPr>
        <p:txBody>
          <a:bodyPr/>
          <a:lstStyle>
            <a:lvl1pPr>
              <a:lnSpc>
                <a:spcPts val="17000"/>
              </a:lnSpc>
              <a:defRPr sz="17000">
                <a:solidFill>
                  <a:srgbClr val="122B5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45050" y="3616327"/>
            <a:ext cx="5880100" cy="8715374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393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4040000" cy="13716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8850" y="952500"/>
            <a:ext cx="10050164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5" y="3616325"/>
            <a:ext cx="11449046" cy="8715374"/>
          </a:xfrm>
        </p:spPr>
        <p:txBody>
          <a:bodyPr/>
          <a:lstStyle>
            <a:lvl1pPr>
              <a:lnSpc>
                <a:spcPts val="17000"/>
              </a:lnSpc>
              <a:defRPr sz="17000">
                <a:solidFill>
                  <a:srgbClr val="122B5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120001" y="6048001"/>
            <a:ext cx="8305146" cy="6283698"/>
          </a:xfrm>
        </p:spPr>
        <p:txBody>
          <a:bodyPr/>
          <a:lstStyle>
            <a:lvl1pPr>
              <a:defRPr sz="3200" b="1"/>
            </a:lvl1pPr>
            <a:lvl2pPr marL="0" indent="0">
              <a:buNone/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400600" y="0"/>
            <a:ext cx="8640000" cy="468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901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5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96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8849" y="952500"/>
            <a:ext cx="18649950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17000"/>
              </a:lnSpc>
              <a:defRPr sz="17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3587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392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7601" y="-304791"/>
            <a:ext cx="2209706" cy="1874690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5" y="3616326"/>
            <a:ext cx="14801230" cy="87153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61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"/>
            <a:ext cx="24384000" cy="13716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1384000" y="1008000"/>
            <a:ext cx="2037600" cy="50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6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98" y="6063772"/>
            <a:ext cx="11859408" cy="1865708"/>
          </a:xfrm>
        </p:spPr>
        <p:txBody>
          <a:bodyPr/>
          <a:lstStyle>
            <a:lvl1pPr defTabSz="1440000">
              <a:defRPr lang="en-US" sz="76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807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8849" y="952500"/>
            <a:ext cx="18649946" cy="504000"/>
          </a:xfrm>
        </p:spPr>
        <p:txBody>
          <a:bodyPr/>
          <a:lstStyle>
            <a:lvl1pPr>
              <a:defRPr lang="en-US" sz="2200" b="1" kern="1200" cap="all" spc="126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opline goes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049382" y="3672000"/>
            <a:ext cx="3744000" cy="3744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8854" y="7967051"/>
            <a:ext cx="7200900" cy="4364650"/>
          </a:xfrm>
        </p:spPr>
        <p:txBody>
          <a:bodyPr/>
          <a:lstStyle>
            <a:lvl1pPr>
              <a:spcAft>
                <a:spcPts val="1200"/>
              </a:spcAft>
              <a:defRPr sz="3200" b="1"/>
            </a:lvl1pPr>
            <a:lvl2pPr marL="0" indent="0">
              <a:buNone/>
              <a:tabLst>
                <a:tab pos="576000" algn="l"/>
              </a:tabLst>
              <a:defRPr sz="3200"/>
            </a:lvl2pPr>
            <a:lvl3pPr marL="360000" indent="-360000">
              <a:buFontTx/>
              <a:buBlip>
                <a:blip r:embed="rId2"/>
              </a:buBlip>
              <a:defRPr sz="3200"/>
            </a:lvl3pPr>
            <a:lvl4pPr marL="360000" indent="-360000">
              <a:buFontTx/>
              <a:buBlip>
                <a:blip r:embed="rId3"/>
              </a:buBlip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8682080" y="3672000"/>
            <a:ext cx="3744000" cy="3744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91550" y="7967051"/>
            <a:ext cx="7200900" cy="4364650"/>
          </a:xfrm>
        </p:spPr>
        <p:txBody>
          <a:bodyPr/>
          <a:lstStyle>
            <a:lvl1pPr>
              <a:spcAft>
                <a:spcPts val="1200"/>
              </a:spcAft>
              <a:defRPr sz="3200" b="1"/>
            </a:lvl1pPr>
            <a:lvl2pPr marL="0" indent="0">
              <a:buNone/>
              <a:tabLst>
                <a:tab pos="576000" algn="l"/>
              </a:tabLst>
              <a:defRPr sz="3200"/>
            </a:lvl2pPr>
            <a:lvl3pPr marL="360000" indent="-360000">
              <a:buFontTx/>
              <a:buBlip>
                <a:blip r:embed="rId2"/>
              </a:buBlip>
              <a:defRPr sz="3200"/>
            </a:lvl3pPr>
            <a:lvl4pPr marL="360000" indent="-360000">
              <a:buFontTx/>
              <a:buBlip>
                <a:blip r:embed="rId3"/>
              </a:buBlip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6314780" y="3672000"/>
            <a:ext cx="3744000" cy="3744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6224250" y="7967051"/>
            <a:ext cx="7200900" cy="4364650"/>
          </a:xfrm>
        </p:spPr>
        <p:txBody>
          <a:bodyPr/>
          <a:lstStyle>
            <a:lvl1pPr>
              <a:spcAft>
                <a:spcPts val="1200"/>
              </a:spcAft>
              <a:defRPr sz="3200" b="1"/>
            </a:lvl1pPr>
            <a:lvl2pPr marL="0" indent="0">
              <a:buNone/>
              <a:tabLst>
                <a:tab pos="576000" algn="l"/>
              </a:tabLst>
              <a:defRPr sz="3200"/>
            </a:lvl2pPr>
            <a:lvl3pPr marL="360000" indent="-360000">
              <a:buFontTx/>
              <a:buBlip>
                <a:blip r:embed="rId2"/>
              </a:buBlip>
              <a:defRPr sz="3200"/>
            </a:lvl3pPr>
            <a:lvl4pPr marL="360000" indent="-360000">
              <a:buFontTx/>
              <a:buBlip>
                <a:blip r:embed="rId3"/>
              </a:buBlip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00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851" y="952501"/>
            <a:ext cx="4114626" cy="1018554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49" y="3546478"/>
            <a:ext cx="22466302" cy="3240000"/>
          </a:xfrm>
        </p:spPr>
        <p:txBody>
          <a:bodyPr rIns="216000" anchor="b" anchorCtr="0"/>
          <a:lstStyle>
            <a:lvl1pPr algn="l">
              <a:lnSpc>
                <a:spcPts val="17000"/>
              </a:lnSpc>
              <a:defRPr sz="17000">
                <a:solidFill>
                  <a:schemeClr val="tx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91552" y="6768000"/>
            <a:ext cx="14833600" cy="3312000"/>
          </a:xfrm>
        </p:spPr>
        <p:txBody>
          <a:bodyPr rIns="216000"/>
          <a:lstStyle>
            <a:lvl1pPr marL="0" indent="0" algn="l">
              <a:lnSpc>
                <a:spcPts val="17000"/>
              </a:lnSpc>
              <a:buNone/>
              <a:defRPr sz="17000">
                <a:solidFill>
                  <a:srgbClr val="13A0D3"/>
                </a:solidFill>
                <a:latin typeface="+mj-lt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Subtitle style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1937600"/>
            <a:ext cx="3385800" cy="1092248"/>
          </a:xfrm>
        </p:spPr>
        <p:txBody>
          <a:bodyPr anchor="b" anchorCtr="0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75200" y="11937600"/>
            <a:ext cx="3385800" cy="1092248"/>
          </a:xfrm>
        </p:spPr>
        <p:txBody>
          <a:bodyPr anchor="b" anchorCtr="0"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row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22032000" y="11544316"/>
            <a:ext cx="2563200" cy="288000"/>
          </a:xfrm>
        </p:spPr>
        <p:txBody>
          <a:bodyPr anchor="b" anchorCtr="0"/>
          <a:lstStyle>
            <a:lvl1pPr>
              <a:defRPr sz="1600">
                <a:solidFill>
                  <a:schemeClr val="tx1"/>
                </a:solidFill>
              </a:defRPr>
            </a:lvl1pPr>
            <a:lvl5pPr marL="5760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7254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66891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88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389400" y="12651885"/>
            <a:ext cx="3385800" cy="33855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22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957601" y="9653333"/>
            <a:ext cx="11274374" cy="98488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lnSpc>
                <a:spcPct val="100000"/>
              </a:lnSpc>
              <a:defRPr lang="en-US" sz="6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subtit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957601" y="3277447"/>
            <a:ext cx="11274374" cy="40626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lnSpc>
                <a:spcPct val="100000"/>
              </a:lnSpc>
              <a:defRPr lang="en-US" sz="13200" b="0" cap="none" baseline="0" dirty="0">
                <a:latin typeface="+mj-lt"/>
              </a:defRPr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pic>
        <p:nvPicPr>
          <p:cNvPr id="8" name="Grafik 5">
            <a:extLst>
              <a:ext uri="{FF2B5EF4-FFF2-40B4-BE49-F238E27FC236}">
                <a16:creationId xmlns:a16="http://schemas.microsoft.com/office/drawing/2014/main" id="{171D11B2-E53F-48A3-8808-C5B52D38F5B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8851" y="952501"/>
            <a:ext cx="4114626" cy="1018554"/>
          </a:xfrm>
          <a:prstGeom prst="rect">
            <a:avLst/>
          </a:prstGeom>
        </p:spPr>
      </p:pic>
      <p:sp>
        <p:nvSpPr>
          <p:cNvPr id="21" name="Datumsplatzhalter 9">
            <a:extLst>
              <a:ext uri="{FF2B5EF4-FFF2-40B4-BE49-F238E27FC236}">
                <a16:creationId xmlns:a16="http://schemas.microsoft.com/office/drawing/2014/main" id="{A1EEFF72-D8AE-4272-B7CA-225E478591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22032001" y="11544878"/>
            <a:ext cx="2564322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1600">
                <a:solidFill>
                  <a:schemeClr val="bg1"/>
                </a:solidFill>
              </a:rPr>
              <a:t>© Allianz 2021</a:t>
            </a:r>
          </a:p>
        </p:txBody>
      </p:sp>
      <p:grpSp>
        <p:nvGrpSpPr>
          <p:cNvPr id="41" name="Gruppieren 1">
            <a:extLst>
              <a:ext uri="{FF2B5EF4-FFF2-40B4-BE49-F238E27FC236}">
                <a16:creationId xmlns:a16="http://schemas.microsoft.com/office/drawing/2014/main" id="{FE03018A-2495-4AA9-A105-6F7F6D38C7B3}"/>
              </a:ext>
            </a:extLst>
          </p:cNvPr>
          <p:cNvGrpSpPr/>
          <p:nvPr userDrawn="1"/>
        </p:nvGrpSpPr>
        <p:grpSpPr>
          <a:xfrm>
            <a:off x="11144485" y="12098220"/>
            <a:ext cx="2095034" cy="892218"/>
            <a:chOff x="4828546" y="4797946"/>
            <a:chExt cx="1047517" cy="446109"/>
          </a:xfrm>
        </p:grpSpPr>
        <p:sp>
          <p:nvSpPr>
            <p:cNvPr id="42" name="Textfeld 16">
              <a:extLst>
                <a:ext uri="{FF2B5EF4-FFF2-40B4-BE49-F238E27FC236}">
                  <a16:creationId xmlns:a16="http://schemas.microsoft.com/office/drawing/2014/main" id="{2187E6A5-7BAC-47F8-B7C1-EA8445B9F999}"/>
                </a:ext>
              </a:extLst>
            </p:cNvPr>
            <p:cNvSpPr txBox="1"/>
            <p:nvPr/>
          </p:nvSpPr>
          <p:spPr>
            <a:xfrm>
              <a:off x="4828546" y="4813935"/>
              <a:ext cx="1047517" cy="293721"/>
            </a:xfrm>
            <a:prstGeom prst="rect">
              <a:avLst/>
            </a:prstGeom>
            <a:noFill/>
            <a:ln w="25400" cmpd="sng">
              <a:noFill/>
            </a:ln>
          </p:spPr>
          <p:txBody>
            <a:bodyPr wrap="square" lIns="0" tIns="108000" rIns="0" bIns="108000" rtlCol="0">
              <a:spAutoFit/>
            </a:bodyPr>
            <a:lstStyle/>
            <a:p>
              <a:pPr algn="ctr" rtl="0"/>
              <a:r>
                <a:rPr lang="en-US" sz="2400" b="1">
                  <a:solidFill>
                    <a:srgbClr val="E4003A"/>
                  </a:solidFill>
                </a:rPr>
                <a:t>Confidential</a:t>
              </a:r>
            </a:p>
          </p:txBody>
        </p:sp>
        <p:grpSp>
          <p:nvGrpSpPr>
            <p:cNvPr id="43" name="Gruppieren 17">
              <a:extLst>
                <a:ext uri="{FF2B5EF4-FFF2-40B4-BE49-F238E27FC236}">
                  <a16:creationId xmlns:a16="http://schemas.microsoft.com/office/drawing/2014/main" id="{125B22FD-0231-4CE3-9F70-88549610FB10}"/>
                </a:ext>
              </a:extLst>
            </p:cNvPr>
            <p:cNvGrpSpPr/>
            <p:nvPr/>
          </p:nvGrpSpPr>
          <p:grpSpPr>
            <a:xfrm>
              <a:off x="4862313" y="4797946"/>
              <a:ext cx="983270" cy="446109"/>
              <a:chOff x="7624763" y="5079537"/>
              <a:chExt cx="1550486" cy="446109"/>
            </a:xfrm>
          </p:grpSpPr>
          <p:cxnSp>
            <p:nvCxnSpPr>
              <p:cNvPr id="44" name="Gerade Verbindung 18">
                <a:extLst>
                  <a:ext uri="{FF2B5EF4-FFF2-40B4-BE49-F238E27FC236}">
                    <a16:creationId xmlns:a16="http://schemas.microsoft.com/office/drawing/2014/main" id="{7683AE17-5B2A-4A87-9CB7-485E2349E993}"/>
                  </a:ext>
                </a:extLst>
              </p:cNvPr>
              <p:cNvCxnSpPr/>
              <p:nvPr/>
            </p:nvCxnSpPr>
            <p:spPr>
              <a:xfrm>
                <a:off x="7624763" y="5079537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19">
                <a:extLst>
                  <a:ext uri="{FF2B5EF4-FFF2-40B4-BE49-F238E27FC236}">
                    <a16:creationId xmlns:a16="http://schemas.microsoft.com/office/drawing/2014/main" id="{09D02E62-E291-45F9-82EC-5E969828A0FB}"/>
                  </a:ext>
                </a:extLst>
              </p:cNvPr>
              <p:cNvCxnSpPr/>
              <p:nvPr/>
            </p:nvCxnSpPr>
            <p:spPr>
              <a:xfrm>
                <a:off x="7624763" y="5525646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749471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615667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958848" y="1893399"/>
            <a:ext cx="18649948" cy="492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58848" y="893369"/>
            <a:ext cx="18649948" cy="7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56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1" name="Grafik 6">
            <a:extLst>
              <a:ext uri="{FF2B5EF4-FFF2-40B4-BE49-F238E27FC236}">
                <a16:creationId xmlns:a16="http://schemas.microsoft.com/office/drawing/2014/main" id="{2029F2A8-EC04-4747-9558-A679D056310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8" name="Slide Number">
            <a:extLst>
              <a:ext uri="{FF2B5EF4-FFF2-40B4-BE49-F238E27FC236}">
                <a16:creationId xmlns:a16="http://schemas.microsoft.com/office/drawing/2014/main" id="{84D0DC91-119B-46BE-9E74-0D8455C6342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8646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88802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958848" y="2874375"/>
            <a:ext cx="18649948" cy="492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58848" y="893369"/>
            <a:ext cx="18649948" cy="7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56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1" name="Grafik 6">
            <a:extLst>
              <a:ext uri="{FF2B5EF4-FFF2-40B4-BE49-F238E27FC236}">
                <a16:creationId xmlns:a16="http://schemas.microsoft.com/office/drawing/2014/main" id="{2029F2A8-EC04-4747-9558-A679D056310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2" name="Sticker" hidden="1">
            <a:extLst>
              <a:ext uri="{FF2B5EF4-FFF2-40B4-BE49-F238E27FC236}">
                <a16:creationId xmlns:a16="http://schemas.microsoft.com/office/drawing/2014/main" id="{F911B58D-65C5-4934-A0B8-F73127EDAAF9}"/>
              </a:ext>
            </a:extLst>
          </p:cNvPr>
          <p:cNvSpPr txBox="1"/>
          <p:nvPr userDrawn="1"/>
        </p:nvSpPr>
        <p:spPr>
          <a:xfrm>
            <a:off x="959652" y="3689793"/>
            <a:ext cx="899284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TICKER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F74A9CF4-066D-4E44-8ABC-D3B1E2E67E6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050D530-85FA-4C9C-B480-6E6C00ECB91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4080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198778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58848" y="3641726"/>
            <a:ext cx="7626096" cy="1869038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rtl="0">
              <a:lnSpc>
                <a:spcPts val="76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FA08487C-ADDE-4B8E-9DF3-75B358453A4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D844F96E-9475-4893-A428-EA009BB61C07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B8F319FC-9A3C-4ADC-B639-7A07BC9794C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131FD6B6-66F3-4B3E-A7A4-E5ED490564F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3927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75331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58848" y="6498929"/>
            <a:ext cx="10131552" cy="718145"/>
          </a:xfrm>
          <a:prstGeom prst="rect">
            <a:avLst/>
          </a:prstGeom>
        </p:spPr>
        <p:txBody>
          <a:bodyPr vert="horz" wrap="square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20C74605-1364-4947-8C0D-1EC6A33922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71AB7B2-11B9-4EC8-9FFA-E91F38CDC737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DEE9C94D-2151-487F-AD5C-4ED53746747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04C9061-3E32-4C1D-B39E-1872DD5782C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0386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8258398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88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958850" y="4499830"/>
            <a:ext cx="22466300" cy="2092880"/>
          </a:xfrm>
        </p:spPr>
        <p:txBody>
          <a:bodyPr vert="horz" wrap="square" anchor="b">
            <a:noAutofit/>
          </a:bodyPr>
          <a:lstStyle>
            <a:lvl1pPr rtl="0">
              <a:lnSpc>
                <a:spcPct val="80000"/>
              </a:lnSpc>
              <a:defRPr sz="17000"/>
            </a:lvl1pPr>
          </a:lstStyle>
          <a:p>
            <a:r>
              <a:rPr lang="en-US"/>
              <a:t>Click to edit title style</a:t>
            </a:r>
          </a:p>
        </p:txBody>
      </p:sp>
      <p:pic>
        <p:nvPicPr>
          <p:cNvPr id="13" name="Grafik 6">
            <a:extLst>
              <a:ext uri="{FF2B5EF4-FFF2-40B4-BE49-F238E27FC236}">
                <a16:creationId xmlns:a16="http://schemas.microsoft.com/office/drawing/2014/main" id="{92AB6738-6DBE-41DC-8A81-9361CFC6231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2" name="3. Subtitle">
            <a:extLst>
              <a:ext uri="{FF2B5EF4-FFF2-40B4-BE49-F238E27FC236}">
                <a16:creationId xmlns:a16="http://schemas.microsoft.com/office/drawing/2014/main" id="{63A8B200-CB3C-4EC9-8066-28E6E36AF3E2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591550" y="6480001"/>
            <a:ext cx="14833600" cy="41857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7000" b="0" spc="0" baseline="0" dirty="0">
                <a:ln w="6350" cap="flat">
                  <a:noFill/>
                  <a:miter lim="800000"/>
                </a:ln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/>
              <a:t>Click to edit subtitle</a:t>
            </a:r>
          </a:p>
        </p:txBody>
      </p:sp>
      <p:sp>
        <p:nvSpPr>
          <p:cNvPr id="30" name="5. Source" hidden="1">
            <a:extLst>
              <a:ext uri="{FF2B5EF4-FFF2-40B4-BE49-F238E27FC236}">
                <a16:creationId xmlns:a16="http://schemas.microsoft.com/office/drawing/2014/main" id="{B4D3DCEF-E31C-4424-800A-BC3568556DE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8C967FC5-319B-4A51-8D65-EDAD6D78F868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360A04-F269-44ED-8C4D-A34D9152B9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8851" y="993600"/>
            <a:ext cx="3384550" cy="935640"/>
          </a:xfrm>
        </p:spPr>
        <p:txBody>
          <a:bodyPr>
            <a:noAutofit/>
          </a:bodyPr>
          <a:lstStyle>
            <a:lvl1pPr rtl="0">
              <a:lnSpc>
                <a:spcPct val="80000"/>
              </a:lnSpc>
              <a:defRPr sz="7600"/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363876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85202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68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991221" y="3616324"/>
            <a:ext cx="14801230" cy="1142876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lnSpc>
                <a:spcPct val="105000"/>
              </a:lnSpc>
              <a:defRPr sz="7600"/>
            </a:lvl1pPr>
          </a:lstStyle>
          <a:p>
            <a:r>
              <a:rPr lang="en-US"/>
              <a:t>“Click to add quote</a:t>
            </a:r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7A8351E8-DBD9-4AC5-99C7-8A76B942C95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7601" y="-304791"/>
            <a:ext cx="2209706" cy="1874690"/>
          </a:xfrm>
          <a:prstGeom prst="rect">
            <a:avLst/>
          </a:prstGeom>
        </p:spPr>
      </p:pic>
      <p:pic>
        <p:nvPicPr>
          <p:cNvPr id="17" name="Grafik 6">
            <a:extLst>
              <a:ext uri="{FF2B5EF4-FFF2-40B4-BE49-F238E27FC236}">
                <a16:creationId xmlns:a16="http://schemas.microsoft.com/office/drawing/2014/main" id="{7BFBB4CF-7AEC-49AE-A137-C6D90058645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3" name="5. Source" hidden="1">
            <a:extLst>
              <a:ext uri="{FF2B5EF4-FFF2-40B4-BE49-F238E27FC236}">
                <a16:creationId xmlns:a16="http://schemas.microsoft.com/office/drawing/2014/main" id="{D0570992-C586-45EC-A424-195939525A1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809A31ED-1568-4A60-853F-C18B5751CA2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1298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02820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742595" y="0"/>
            <a:ext cx="17641406" cy="13716000"/>
          </a:xfrm>
          <a:prstGeom prst="rect">
            <a:avLst/>
          </a:prstGeom>
          <a:solidFill>
            <a:srgbClr val="EFF7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60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58847" y="4873184"/>
            <a:ext cx="5095602" cy="2154436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lnSpc>
                <a:spcPts val="5600"/>
              </a:lnSpc>
              <a:defRPr lang="en-US" sz="5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58847" y="7319289"/>
            <a:ext cx="5095602" cy="9848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3200" b="0" baseline="0">
                <a:solidFill>
                  <a:schemeClr val="bg1"/>
                </a:solidFill>
              </a:defRPr>
            </a:lvl1pPr>
            <a:lvl2pPr marL="914356" indent="0" algn="ctr">
              <a:buNone/>
              <a:defRPr sz="4000"/>
            </a:lvl2pPr>
            <a:lvl3pPr marL="1828708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8" indent="0" algn="ctr">
              <a:buNone/>
              <a:defRPr sz="3200"/>
            </a:lvl5pPr>
            <a:lvl6pPr marL="4571772" indent="0" algn="ctr">
              <a:buNone/>
              <a:defRPr sz="3200"/>
            </a:lvl6pPr>
            <a:lvl7pPr marL="5486124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6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0473E5C-AD08-412B-BC26-71F8905D003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EF683EDB-E966-47E5-872A-AFC2DD7FA36A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58849" y="266701"/>
            <a:ext cx="5095602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76D5C4C7-A596-48F4-B26B-EE01F498B49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07" name="Slide Number">
            <a:extLst>
              <a:ext uri="{FF2B5EF4-FFF2-40B4-BE49-F238E27FC236}">
                <a16:creationId xmlns:a16="http://schemas.microsoft.com/office/drawing/2014/main" id="{CEAD6A44-4E5E-414A-A01E-A1562AE3AD3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40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13165980" y="952500"/>
            <a:ext cx="9525001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/>
          </p:nvPr>
        </p:nvSpPr>
        <p:spPr>
          <a:xfrm>
            <a:off x="1651000" y="952500"/>
            <a:ext cx="10223500" cy="5549900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r>
              <a:t>Title Text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651000" y="6527800"/>
            <a:ext cx="10223500" cy="5727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49254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02275" y="0"/>
            <a:ext cx="15781726" cy="13716000"/>
          </a:xfrm>
          <a:prstGeom prst="rect">
            <a:avLst/>
          </a:prstGeom>
          <a:solidFill>
            <a:srgbClr val="EFF7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sz="60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58848" y="5591331"/>
            <a:ext cx="7032184" cy="143629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lnSpc>
                <a:spcPts val="5600"/>
              </a:lnSpc>
              <a:defRPr lang="en-US" sz="5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58846" y="7319289"/>
            <a:ext cx="7032184" cy="49244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3200" b="0" baseline="0">
                <a:solidFill>
                  <a:schemeClr val="bg1"/>
                </a:solidFill>
              </a:defRPr>
            </a:lvl1pPr>
            <a:lvl2pPr marL="914356" indent="0" algn="ctr">
              <a:buNone/>
              <a:defRPr sz="4000"/>
            </a:lvl2pPr>
            <a:lvl3pPr marL="1828708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8" indent="0" algn="ctr">
              <a:buNone/>
              <a:defRPr sz="3200"/>
            </a:lvl5pPr>
            <a:lvl6pPr marL="4571772" indent="0" algn="ctr">
              <a:buNone/>
              <a:defRPr sz="3200"/>
            </a:lvl6pPr>
            <a:lvl7pPr marL="5486124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6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D5FD17F2-7675-4320-BCBC-3B4403AB276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4D43E1CE-D470-4CDD-BF71-A3420E9FECC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58848" y="266701"/>
            <a:ext cx="7032184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EF354E7C-D32D-478E-9EA5-D39D1D39385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06" name="Slide Number">
            <a:extLst>
              <a:ext uri="{FF2B5EF4-FFF2-40B4-BE49-F238E27FC236}">
                <a16:creationId xmlns:a16="http://schemas.microsoft.com/office/drawing/2014/main" id="{F58B9717-45F8-4802-870E-DEB3DB39A81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325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61878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12191998" y="0"/>
            <a:ext cx="12192000" cy="13716000"/>
          </a:xfrm>
          <a:prstGeom prst="rect">
            <a:avLst/>
          </a:prstGeom>
          <a:solidFill>
            <a:srgbClr val="EFF7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sz="60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58849" y="893369"/>
            <a:ext cx="10261614" cy="974626"/>
          </a:xfrm>
        </p:spPr>
        <p:txBody>
          <a:bodyPr vert="horz" wrap="square">
            <a:noAutofit/>
          </a:bodyPr>
          <a:lstStyle>
            <a:lvl1pPr rtl="0">
              <a:lnSpc>
                <a:spcPts val="56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</a:t>
            </a:r>
            <a:r>
              <a:rPr lang="en-US" err="1"/>
              <a:t>styleo</a:t>
            </a:r>
            <a:endParaRPr lang="en-U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58849" y="1893399"/>
            <a:ext cx="10261614" cy="4924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3200" b="0" baseline="0">
                <a:solidFill>
                  <a:schemeClr val="bg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4CF39BC-171D-49C1-9814-706820E16E7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AA2D99C8-ABD5-417A-BD00-8BC20557E335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76112F6F-3B4A-4E03-AB1D-EF0B3ABBFA3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10" name="Slide Number">
            <a:extLst>
              <a:ext uri="{FF2B5EF4-FFF2-40B4-BE49-F238E27FC236}">
                <a16:creationId xmlns:a16="http://schemas.microsoft.com/office/drawing/2014/main" id="{46C36462-E9D7-4EBA-BDC8-34E2E49C9D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7479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337988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58849" y="893369"/>
            <a:ext cx="14128278" cy="974626"/>
          </a:xfrm>
        </p:spPr>
        <p:txBody>
          <a:bodyPr vert="horz" wrap="square">
            <a:noAutofit/>
          </a:bodyPr>
          <a:lstStyle>
            <a:lvl1pPr rtl="0">
              <a:lnSpc>
                <a:spcPts val="56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5711344" y="0"/>
            <a:ext cx="8672656" cy="13716000"/>
          </a:xfrm>
          <a:prstGeom prst="rect">
            <a:avLst/>
          </a:prstGeom>
          <a:solidFill>
            <a:srgbClr val="EFF7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sz="60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58849" y="1893399"/>
            <a:ext cx="14128278" cy="4924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3200" b="0" baseline="0">
                <a:solidFill>
                  <a:schemeClr val="bg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DBEDD159-B645-4F8F-B984-00002CD6001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654F5DAC-415D-4259-8508-15EAEC478F12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D4244FC0-9D70-49C6-9125-51820E499BA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06" name="Slide Number">
            <a:extLst>
              <a:ext uri="{FF2B5EF4-FFF2-40B4-BE49-F238E27FC236}">
                <a16:creationId xmlns:a16="http://schemas.microsoft.com/office/drawing/2014/main" id="{2CF210A3-DF66-42B8-A388-7240FBBBBE7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46361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443836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17634932" y="0"/>
            <a:ext cx="6749068" cy="13716000"/>
          </a:xfrm>
          <a:prstGeom prst="rect">
            <a:avLst/>
          </a:prstGeom>
          <a:solidFill>
            <a:srgbClr val="EFF7F8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sz="6000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58849" y="893369"/>
            <a:ext cx="16064842" cy="974626"/>
          </a:xfrm>
        </p:spPr>
        <p:txBody>
          <a:bodyPr vert="horz" wrap="square">
            <a:noAutofit/>
          </a:bodyPr>
          <a:lstStyle>
            <a:lvl1pPr rtl="0">
              <a:lnSpc>
                <a:spcPts val="56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58849" y="1893399"/>
            <a:ext cx="16064842" cy="4924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3200" b="0" u="none" baseline="0">
                <a:solidFill>
                  <a:schemeClr val="bg1"/>
                </a:solidFill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9E9BA4F3-1E97-4482-9C61-F387EA720E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0FD7F1F5-5F46-4DFD-894F-85193FD483D2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DD452A35-8648-4DF1-BD7A-A7AE5DC6D0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07" name="Slide Number">
            <a:extLst>
              <a:ext uri="{FF2B5EF4-FFF2-40B4-BE49-F238E27FC236}">
                <a16:creationId xmlns:a16="http://schemas.microsoft.com/office/drawing/2014/main" id="{CED67765-42AD-4F94-8F4D-7B1C05625A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2064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54379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58848" y="893369"/>
            <a:ext cx="18649948" cy="718146"/>
          </a:xfrm>
        </p:spPr>
        <p:txBody>
          <a:bodyPr vert="horz" wrap="square">
            <a:spAutoFit/>
          </a:bodyPr>
          <a:lstStyle>
            <a:lvl1pPr rtl="0">
              <a:lnSpc>
                <a:spcPts val="5600"/>
              </a:lnSpc>
              <a:defRPr sz="5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Grafik 6">
            <a:extLst>
              <a:ext uri="{FF2B5EF4-FFF2-40B4-BE49-F238E27FC236}">
                <a16:creationId xmlns:a16="http://schemas.microsoft.com/office/drawing/2014/main" id="{7809E045-01EB-4B45-BDF2-8D002692D7D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BE49F94D-7DF5-45D0-B49F-B3D5E9309A2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F820FB99-72C1-4C58-981F-DF529E0D18E3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A2595AA7-7F00-4CF4-8B46-14638C4E0BA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Sticker" hidden="1">
            <a:extLst>
              <a:ext uri="{FF2B5EF4-FFF2-40B4-BE49-F238E27FC236}">
                <a16:creationId xmlns:a16="http://schemas.microsoft.com/office/drawing/2014/main" id="{3AE8E571-7EAB-44B3-BFEB-8D499F9E4B18}"/>
              </a:ext>
            </a:extLst>
          </p:cNvPr>
          <p:cNvSpPr txBox="1"/>
          <p:nvPr userDrawn="1"/>
        </p:nvSpPr>
        <p:spPr>
          <a:xfrm>
            <a:off x="959652" y="3985065"/>
            <a:ext cx="899284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727148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8721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6">
            <a:extLst>
              <a:ext uri="{FF2B5EF4-FFF2-40B4-BE49-F238E27FC236}">
                <a16:creationId xmlns:a16="http://schemas.microsoft.com/office/drawing/2014/main" id="{88C9DB07-0104-4940-A08A-74974E69D5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3F8B872C-3BF8-4080-AC8F-2705798B33E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307287E2-1D4C-401D-B73E-971D76A458F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noProof="0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F24FD632-A9A6-44EC-A20B-9BE20CA855A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9518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7">
            <a:extLst>
              <a:ext uri="{FF2B5EF4-FFF2-40B4-BE49-F238E27FC236}">
                <a16:creationId xmlns:a16="http://schemas.microsoft.com/office/drawing/2014/main" id="{769B5112-90D2-45CF-B2F5-4DE27B2D4509}"/>
              </a:ext>
            </a:extLst>
          </p:cNvPr>
          <p:cNvSpPr/>
          <p:nvPr userDrawn="1"/>
        </p:nvSpPr>
        <p:spPr>
          <a:xfrm>
            <a:off x="1" y="0"/>
            <a:ext cx="16224250" cy="13716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6000"/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762598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200" b="1" cap="all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58851" y="3616324"/>
            <a:ext cx="11449046" cy="65402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lnSpc>
                <a:spcPts val="17000"/>
              </a:lnSpc>
              <a:defRPr lang="en-US" sz="17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1" name="Grafik 6">
            <a:extLst>
              <a:ext uri="{FF2B5EF4-FFF2-40B4-BE49-F238E27FC236}">
                <a16:creationId xmlns:a16="http://schemas.microsoft.com/office/drawing/2014/main" id="{2029F2A8-EC04-4747-9558-A679D056310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4839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E7DDE5-6D5C-4F89-A66B-65904E9B6E4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976100" y="7619779"/>
            <a:ext cx="12407900" cy="492442"/>
          </a:xfrm>
          <a:solidFill>
            <a:srgbClr val="DFEFF2"/>
          </a:solidFill>
        </p:spPr>
        <p:txBody>
          <a:bodyPr anchor="ctr"/>
          <a:lstStyle>
            <a:lvl1pPr algn="ctr" rtl="0">
              <a:buClr>
                <a:schemeClr val="bg1"/>
              </a:buCl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487858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958848" y="266701"/>
            <a:ext cx="7686676" cy="338554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200" b="1" cap="all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58848" y="1750618"/>
            <a:ext cx="7686676" cy="14786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76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21" name="Grafik 6">
            <a:extLst>
              <a:ext uri="{FF2B5EF4-FFF2-40B4-BE49-F238E27FC236}">
                <a16:creationId xmlns:a16="http://schemas.microsoft.com/office/drawing/2014/main" id="{2029F2A8-EC04-4747-9558-A679D056310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8" name="Slide Number">
            <a:extLst>
              <a:ext uri="{FF2B5EF4-FFF2-40B4-BE49-F238E27FC236}">
                <a16:creationId xmlns:a16="http://schemas.microsoft.com/office/drawing/2014/main" id="{84D0DC91-119B-46BE-9E74-0D8455C634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0001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4E7DDE5-6D5C-4F89-A66B-65904E9B6E4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5837779"/>
            <a:ext cx="17856000" cy="492442"/>
          </a:xfrm>
          <a:solidFill>
            <a:srgbClr val="DFEFF2"/>
          </a:solidFill>
        </p:spPr>
        <p:txBody>
          <a:bodyPr anchor="ctr"/>
          <a:lstStyle>
            <a:lvl1pPr algn="ctr" rtl="0">
              <a:buClr>
                <a:schemeClr val="bg1"/>
              </a:buCl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35544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ource: …</a:t>
            </a:r>
          </a:p>
        </p:txBody>
      </p:sp>
      <p:pic>
        <p:nvPicPr>
          <p:cNvPr id="21" name="Grafik 6">
            <a:extLst>
              <a:ext uri="{FF2B5EF4-FFF2-40B4-BE49-F238E27FC236}">
                <a16:creationId xmlns:a16="http://schemas.microsoft.com/office/drawing/2014/main" id="{2029F2A8-EC04-4747-9558-A679D056310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28" name="Slide Number">
            <a:extLst>
              <a:ext uri="{FF2B5EF4-FFF2-40B4-BE49-F238E27FC236}">
                <a16:creationId xmlns:a16="http://schemas.microsoft.com/office/drawing/2014/main" id="{84D0DC91-119B-46BE-9E74-0D8455C6342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2887161" y="12744000"/>
            <a:ext cx="537990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1221488" rtl="0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6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6396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59D19FB-F034-4D44-955F-BED122AC13D0}"/>
              </a:ext>
            </a:extLst>
          </p:cNvPr>
          <p:cNvGrpSpPr/>
          <p:nvPr userDrawn="1"/>
        </p:nvGrpSpPr>
        <p:grpSpPr>
          <a:xfrm>
            <a:off x="0" y="0"/>
            <a:ext cx="24384000" cy="13716000"/>
            <a:chOff x="0" y="0"/>
            <a:chExt cx="12192000" cy="6858000"/>
          </a:xfrm>
        </p:grpSpPr>
        <p:pic>
          <p:nvPicPr>
            <p:cNvPr id="6" name="Bildplatzhalter 11">
              <a:extLst>
                <a:ext uri="{FF2B5EF4-FFF2-40B4-BE49-F238E27FC236}">
                  <a16:creationId xmlns:a16="http://schemas.microsoft.com/office/drawing/2014/main" id="{1AF0F2CD-0979-4AA6-8215-182EBF8569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7" name="Grafik 13">
              <a:extLst>
                <a:ext uri="{FF2B5EF4-FFF2-40B4-BE49-F238E27FC236}">
                  <a16:creationId xmlns:a16="http://schemas.microsoft.com/office/drawing/2014/main" id="{2856E5F7-1884-4400-AAEC-666D2B6C3E5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810098" y="1143097"/>
              <a:ext cx="4571808" cy="4571807"/>
            </a:xfrm>
            <a:custGeom>
              <a:avLst/>
              <a:gdLst>
                <a:gd name="connsiteX0" fmla="*/ 3048606 w 5327650"/>
                <a:gd name="connsiteY0" fmla="*/ 4158431 h 5327649"/>
                <a:gd name="connsiteX1" fmla="*/ 3048606 w 5327650"/>
                <a:gd name="connsiteY1" fmla="*/ 1218444 h 5327649"/>
                <a:gd name="connsiteX2" fmla="*/ 2737659 w 5327650"/>
                <a:gd name="connsiteY2" fmla="*/ 905364 h 5327649"/>
                <a:gd name="connsiteX3" fmla="*/ 2049870 w 5327650"/>
                <a:gd name="connsiteY3" fmla="*/ 905364 h 5327649"/>
                <a:gd name="connsiteX4" fmla="*/ 2049870 w 5327650"/>
                <a:gd name="connsiteY4" fmla="*/ 1233529 h 5327649"/>
                <a:gd name="connsiteX5" fmla="*/ 2090888 w 5327650"/>
                <a:gd name="connsiteY5" fmla="*/ 1233529 h 5327649"/>
                <a:gd name="connsiteX6" fmla="*/ 2278251 w 5327650"/>
                <a:gd name="connsiteY6" fmla="*/ 1458216 h 5327649"/>
                <a:gd name="connsiteX7" fmla="*/ 2278251 w 5327650"/>
                <a:gd name="connsiteY7" fmla="*/ 4158431 h 5327649"/>
                <a:gd name="connsiteX8" fmla="*/ 3048606 w 5327650"/>
                <a:gd name="connsiteY8" fmla="*/ 4158431 h 5327649"/>
                <a:gd name="connsiteX9" fmla="*/ 3387869 w 5327650"/>
                <a:gd name="connsiteY9" fmla="*/ 4158431 h 5327649"/>
                <a:gd name="connsiteX10" fmla="*/ 4152137 w 5327650"/>
                <a:gd name="connsiteY10" fmla="*/ 4158431 h 5327649"/>
                <a:gd name="connsiteX11" fmla="*/ 4152137 w 5327650"/>
                <a:gd name="connsiteY11" fmla="*/ 1868687 h 5327649"/>
                <a:gd name="connsiteX12" fmla="*/ 3839602 w 5327650"/>
                <a:gd name="connsiteY12" fmla="*/ 1556136 h 5327649"/>
                <a:gd name="connsiteX13" fmla="*/ 3387869 w 5327650"/>
                <a:gd name="connsiteY13" fmla="*/ 1556136 h 5327649"/>
                <a:gd name="connsiteX14" fmla="*/ 3387869 w 5327650"/>
                <a:gd name="connsiteY14" fmla="*/ 4158431 h 5327649"/>
                <a:gd name="connsiteX15" fmla="*/ 1940840 w 5327650"/>
                <a:gd name="connsiteY15" fmla="*/ 4158431 h 5327649"/>
                <a:gd name="connsiteX16" fmla="*/ 1940840 w 5327650"/>
                <a:gd name="connsiteY16" fmla="*/ 1556136 h 5327649"/>
                <a:gd name="connsiteX17" fmla="*/ 1488048 w 5327650"/>
                <a:gd name="connsiteY17" fmla="*/ 1556136 h 5327649"/>
                <a:gd name="connsiteX18" fmla="*/ 1176307 w 5327650"/>
                <a:gd name="connsiteY18" fmla="*/ 1868687 h 5327649"/>
                <a:gd name="connsiteX19" fmla="*/ 1176307 w 5327650"/>
                <a:gd name="connsiteY19" fmla="*/ 4158431 h 5327649"/>
                <a:gd name="connsiteX20" fmla="*/ 1940840 w 5327650"/>
                <a:gd name="connsiteY20" fmla="*/ 4158431 h 5327649"/>
                <a:gd name="connsiteX21" fmla="*/ 4875123 w 5327650"/>
                <a:gd name="connsiteY21" fmla="*/ 2664222 h 5327649"/>
                <a:gd name="connsiteX22" fmla="*/ 2664090 w 5327650"/>
                <a:gd name="connsiteY22" fmla="*/ 4901565 h 5327649"/>
                <a:gd name="connsiteX23" fmla="*/ 452792 w 5327650"/>
                <a:gd name="connsiteY23" fmla="*/ 2664222 h 5327649"/>
                <a:gd name="connsiteX24" fmla="*/ 2664090 w 5327650"/>
                <a:gd name="connsiteY24" fmla="*/ 426350 h 5327649"/>
                <a:gd name="connsiteX25" fmla="*/ 4875123 w 5327650"/>
                <a:gd name="connsiteY25" fmla="*/ 2664222 h 5327649"/>
                <a:gd name="connsiteX26" fmla="*/ 5327650 w 5327650"/>
                <a:gd name="connsiteY26" fmla="*/ 2657341 h 5327649"/>
                <a:gd name="connsiteX27" fmla="*/ 2667530 w 5327650"/>
                <a:gd name="connsiteY27" fmla="*/ 0 h 5327649"/>
                <a:gd name="connsiteX28" fmla="*/ 2660649 w 5327650"/>
                <a:gd name="connsiteY28" fmla="*/ 0 h 5327649"/>
                <a:gd name="connsiteX29" fmla="*/ 0 w 5327650"/>
                <a:gd name="connsiteY29" fmla="*/ 2664222 h 5327649"/>
                <a:gd name="connsiteX30" fmla="*/ 2664090 w 5327650"/>
                <a:gd name="connsiteY30" fmla="*/ 5327650 h 5327649"/>
                <a:gd name="connsiteX31" fmla="*/ 5327650 w 5327650"/>
                <a:gd name="connsiteY31" fmla="*/ 2670838 h 5327649"/>
                <a:gd name="connsiteX32" fmla="*/ 5327650 w 5327650"/>
                <a:gd name="connsiteY32" fmla="*/ 2657341 h 5327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327650" h="5327649">
                  <a:moveTo>
                    <a:pt x="3048606" y="4158431"/>
                  </a:moveTo>
                  <a:lnTo>
                    <a:pt x="3048606" y="1218444"/>
                  </a:lnTo>
                  <a:cubicBezTo>
                    <a:pt x="3048606" y="984230"/>
                    <a:pt x="2965245" y="905364"/>
                    <a:pt x="2737659" y="905364"/>
                  </a:cubicBezTo>
                  <a:lnTo>
                    <a:pt x="2049870" y="905364"/>
                  </a:lnTo>
                  <a:lnTo>
                    <a:pt x="2049870" y="1233529"/>
                  </a:lnTo>
                  <a:lnTo>
                    <a:pt x="2090888" y="1233529"/>
                  </a:lnTo>
                  <a:cubicBezTo>
                    <a:pt x="2248082" y="1233529"/>
                    <a:pt x="2278251" y="1268992"/>
                    <a:pt x="2278251" y="1458216"/>
                  </a:cubicBezTo>
                  <a:lnTo>
                    <a:pt x="2278251" y="4158431"/>
                  </a:lnTo>
                  <a:lnTo>
                    <a:pt x="3048606" y="4158431"/>
                  </a:lnTo>
                  <a:close/>
                  <a:moveTo>
                    <a:pt x="3387869" y="4158431"/>
                  </a:moveTo>
                  <a:lnTo>
                    <a:pt x="4152137" y="4158431"/>
                  </a:lnTo>
                  <a:lnTo>
                    <a:pt x="4152137" y="1868687"/>
                  </a:lnTo>
                  <a:cubicBezTo>
                    <a:pt x="4152137" y="1638972"/>
                    <a:pt x="4063484" y="1556136"/>
                    <a:pt x="3839602" y="1556136"/>
                  </a:cubicBezTo>
                  <a:lnTo>
                    <a:pt x="3387869" y="1556136"/>
                  </a:lnTo>
                  <a:lnTo>
                    <a:pt x="3387869" y="4158431"/>
                  </a:lnTo>
                  <a:close/>
                  <a:moveTo>
                    <a:pt x="1940840" y="4158431"/>
                  </a:moveTo>
                  <a:lnTo>
                    <a:pt x="1940840" y="1556136"/>
                  </a:lnTo>
                  <a:lnTo>
                    <a:pt x="1488048" y="1556136"/>
                  </a:lnTo>
                  <a:cubicBezTo>
                    <a:pt x="1264166" y="1556136"/>
                    <a:pt x="1176307" y="1638972"/>
                    <a:pt x="1176307" y="1868687"/>
                  </a:cubicBezTo>
                  <a:lnTo>
                    <a:pt x="1176307" y="4158431"/>
                  </a:lnTo>
                  <a:lnTo>
                    <a:pt x="1940840" y="4158431"/>
                  </a:lnTo>
                  <a:close/>
                  <a:moveTo>
                    <a:pt x="4875123" y="2664222"/>
                  </a:moveTo>
                  <a:cubicBezTo>
                    <a:pt x="4875123" y="3959679"/>
                    <a:pt x="3943869" y="4901565"/>
                    <a:pt x="2664090" y="4901565"/>
                  </a:cubicBezTo>
                  <a:cubicBezTo>
                    <a:pt x="1384310" y="4901565"/>
                    <a:pt x="452792" y="3959679"/>
                    <a:pt x="452792" y="2664222"/>
                  </a:cubicBezTo>
                  <a:cubicBezTo>
                    <a:pt x="452792" y="1368500"/>
                    <a:pt x="1384310" y="426350"/>
                    <a:pt x="2664090" y="426350"/>
                  </a:cubicBezTo>
                  <a:cubicBezTo>
                    <a:pt x="3943869" y="426350"/>
                    <a:pt x="4875123" y="1374323"/>
                    <a:pt x="4875123" y="2664222"/>
                  </a:cubicBezTo>
                  <a:close/>
                  <a:moveTo>
                    <a:pt x="5327650" y="2657341"/>
                  </a:moveTo>
                  <a:cubicBezTo>
                    <a:pt x="5324210" y="1138520"/>
                    <a:pt x="4187599" y="1588"/>
                    <a:pt x="2667530" y="0"/>
                  </a:cubicBezTo>
                  <a:lnTo>
                    <a:pt x="2660649" y="0"/>
                  </a:lnTo>
                  <a:cubicBezTo>
                    <a:pt x="1137670" y="1588"/>
                    <a:pt x="0" y="1141961"/>
                    <a:pt x="0" y="2664222"/>
                  </a:cubicBezTo>
                  <a:cubicBezTo>
                    <a:pt x="0" y="4189395"/>
                    <a:pt x="1139258" y="5327650"/>
                    <a:pt x="2664090" y="5327650"/>
                  </a:cubicBezTo>
                  <a:cubicBezTo>
                    <a:pt x="4186011" y="5327650"/>
                    <a:pt x="5324210" y="4192835"/>
                    <a:pt x="5327650" y="2670838"/>
                  </a:cubicBezTo>
                  <a:lnTo>
                    <a:pt x="5327650" y="265734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alpha val="25000"/>
                    <a:lumMod val="100000"/>
                  </a:schemeClr>
                </a:gs>
              </a:gsLst>
              <a:lin ang="18900000" scaled="1"/>
              <a:tileRect/>
            </a:gradFill>
            <a:ln w="26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sz="3810"/>
            </a:p>
          </p:txBody>
        </p:sp>
      </p:grp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73721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071F1A1B-5D8B-4BF6-B8A1-6AA0B4C5758A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958853" y="1278577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30EC9747-749D-4A24-B5F7-BC7332B28CC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958848" y="6498929"/>
            <a:ext cx="7042152" cy="718145"/>
          </a:xfrm>
          <a:prstGeom prst="rect">
            <a:avLst/>
          </a:prstGeom>
        </p:spPr>
        <p:txBody>
          <a:bodyPr vert="horz" wrap="square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14372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half" idx="13"/>
          </p:nvPr>
        </p:nvSpPr>
        <p:spPr>
          <a:xfrm>
            <a:off x="13169900" y="3149600"/>
            <a:ext cx="9525000" cy="92964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689100" y="3149600"/>
            <a:ext cx="10223500" cy="92964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3800"/>
            </a:lvl1pPr>
            <a:lvl2pPr marL="1117600" indent="-558800">
              <a:spcBef>
                <a:spcPts val="4500"/>
              </a:spcBef>
              <a:defRPr sz="3800"/>
            </a:lvl2pPr>
            <a:lvl3pPr marL="1676400" indent="-558800">
              <a:spcBef>
                <a:spcPts val="4500"/>
              </a:spcBef>
              <a:defRPr sz="3800"/>
            </a:lvl3pPr>
            <a:lvl4pPr marL="2235200" indent="-558800">
              <a:spcBef>
                <a:spcPts val="4500"/>
              </a:spcBef>
              <a:defRPr sz="3800"/>
            </a:lvl4pPr>
            <a:lvl5pPr marL="2794000" indent="-558800">
              <a:spcBef>
                <a:spcPts val="4500"/>
              </a:spcBef>
              <a:defRPr sz="3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600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Image"/>
          <p:cNvSpPr>
            <a:spLocks noGrp="1"/>
          </p:cNvSpPr>
          <p:nvPr>
            <p:ph type="pic" sz="quarter" idx="13"/>
          </p:nvPr>
        </p:nvSpPr>
        <p:spPr>
          <a:xfrm>
            <a:off x="15760700" y="70485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Image"/>
          <p:cNvSpPr>
            <a:spLocks noGrp="1"/>
          </p:cNvSpPr>
          <p:nvPr>
            <p:ph type="pic" sz="quarter" idx="14"/>
          </p:nvPr>
        </p:nvSpPr>
        <p:spPr>
          <a:xfrm>
            <a:off x="15760700" y="11303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Image"/>
          <p:cNvSpPr>
            <a:spLocks noGrp="1"/>
          </p:cNvSpPr>
          <p:nvPr>
            <p:ph type="pic" idx="15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7.xml"/><Relationship Id="rId117" Type="http://schemas.openxmlformats.org/officeDocument/2006/relationships/image" Target="../media/image26.png"/><Relationship Id="rId21" Type="http://schemas.openxmlformats.org/officeDocument/2006/relationships/tags" Target="../tags/tag2.xml"/><Relationship Id="rId42" Type="http://schemas.openxmlformats.org/officeDocument/2006/relationships/tags" Target="../tags/tag23.xml"/><Relationship Id="rId47" Type="http://schemas.openxmlformats.org/officeDocument/2006/relationships/tags" Target="../tags/tag28.xml"/><Relationship Id="rId63" Type="http://schemas.openxmlformats.org/officeDocument/2006/relationships/tags" Target="../tags/tag44.xml"/><Relationship Id="rId68" Type="http://schemas.openxmlformats.org/officeDocument/2006/relationships/tags" Target="../tags/tag49.xml"/><Relationship Id="rId84" Type="http://schemas.openxmlformats.org/officeDocument/2006/relationships/tags" Target="../tags/tag65.xml"/><Relationship Id="rId89" Type="http://schemas.openxmlformats.org/officeDocument/2006/relationships/tags" Target="../tags/tag70.xml"/><Relationship Id="rId112" Type="http://schemas.openxmlformats.org/officeDocument/2006/relationships/image" Target="../media/image21.svg"/><Relationship Id="rId133" Type="http://schemas.openxmlformats.org/officeDocument/2006/relationships/image" Target="../media/image42.png"/><Relationship Id="rId138" Type="http://schemas.openxmlformats.org/officeDocument/2006/relationships/image" Target="../media/image47.svg"/><Relationship Id="rId154" Type="http://schemas.openxmlformats.org/officeDocument/2006/relationships/image" Target="../media/image63.svg"/><Relationship Id="rId159" Type="http://schemas.openxmlformats.org/officeDocument/2006/relationships/image" Target="../media/image68.png"/><Relationship Id="rId16" Type="http://schemas.openxmlformats.org/officeDocument/2006/relationships/slideLayout" Target="../slideLayouts/slideLayout47.xml"/><Relationship Id="rId107" Type="http://schemas.openxmlformats.org/officeDocument/2006/relationships/image" Target="../media/image16.png"/><Relationship Id="rId11" Type="http://schemas.openxmlformats.org/officeDocument/2006/relationships/slideLayout" Target="../slideLayouts/slideLayout42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53" Type="http://schemas.openxmlformats.org/officeDocument/2006/relationships/tags" Target="../tags/tag34.xml"/><Relationship Id="rId58" Type="http://schemas.openxmlformats.org/officeDocument/2006/relationships/tags" Target="../tags/tag39.xml"/><Relationship Id="rId74" Type="http://schemas.openxmlformats.org/officeDocument/2006/relationships/tags" Target="../tags/tag55.xml"/><Relationship Id="rId79" Type="http://schemas.openxmlformats.org/officeDocument/2006/relationships/tags" Target="../tags/tag60.xml"/><Relationship Id="rId102" Type="http://schemas.openxmlformats.org/officeDocument/2006/relationships/image" Target="../media/image11.emf"/><Relationship Id="rId123" Type="http://schemas.openxmlformats.org/officeDocument/2006/relationships/image" Target="../media/image32.png"/><Relationship Id="rId128" Type="http://schemas.openxmlformats.org/officeDocument/2006/relationships/image" Target="../media/image37.svg"/><Relationship Id="rId144" Type="http://schemas.openxmlformats.org/officeDocument/2006/relationships/image" Target="../media/image53.svg"/><Relationship Id="rId149" Type="http://schemas.openxmlformats.org/officeDocument/2006/relationships/image" Target="../media/image58.png"/><Relationship Id="rId5" Type="http://schemas.openxmlformats.org/officeDocument/2006/relationships/slideLayout" Target="../slideLayouts/slideLayout36.xml"/><Relationship Id="rId90" Type="http://schemas.openxmlformats.org/officeDocument/2006/relationships/tags" Target="../tags/tag71.xml"/><Relationship Id="rId95" Type="http://schemas.openxmlformats.org/officeDocument/2006/relationships/tags" Target="../tags/tag76.xml"/><Relationship Id="rId160" Type="http://schemas.openxmlformats.org/officeDocument/2006/relationships/image" Target="../media/image69.svg"/><Relationship Id="rId165" Type="http://schemas.openxmlformats.org/officeDocument/2006/relationships/image" Target="../media/image74.png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43" Type="http://schemas.openxmlformats.org/officeDocument/2006/relationships/tags" Target="../tags/tag24.xml"/><Relationship Id="rId48" Type="http://schemas.openxmlformats.org/officeDocument/2006/relationships/tags" Target="../tags/tag29.xml"/><Relationship Id="rId64" Type="http://schemas.openxmlformats.org/officeDocument/2006/relationships/tags" Target="../tags/tag45.xml"/><Relationship Id="rId69" Type="http://schemas.openxmlformats.org/officeDocument/2006/relationships/tags" Target="../tags/tag50.xml"/><Relationship Id="rId113" Type="http://schemas.openxmlformats.org/officeDocument/2006/relationships/image" Target="../media/image22.png"/><Relationship Id="rId118" Type="http://schemas.openxmlformats.org/officeDocument/2006/relationships/image" Target="../media/image27.svg"/><Relationship Id="rId134" Type="http://schemas.openxmlformats.org/officeDocument/2006/relationships/image" Target="../media/image43.svg"/><Relationship Id="rId139" Type="http://schemas.openxmlformats.org/officeDocument/2006/relationships/image" Target="../media/image48.png"/><Relationship Id="rId80" Type="http://schemas.openxmlformats.org/officeDocument/2006/relationships/tags" Target="../tags/tag61.xml"/><Relationship Id="rId85" Type="http://schemas.openxmlformats.org/officeDocument/2006/relationships/tags" Target="../tags/tag66.xml"/><Relationship Id="rId150" Type="http://schemas.openxmlformats.org/officeDocument/2006/relationships/image" Target="../media/image59.svg"/><Relationship Id="rId155" Type="http://schemas.openxmlformats.org/officeDocument/2006/relationships/image" Target="../media/image64.png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33" Type="http://schemas.openxmlformats.org/officeDocument/2006/relationships/tags" Target="../tags/tag14.xml"/><Relationship Id="rId38" Type="http://schemas.openxmlformats.org/officeDocument/2006/relationships/tags" Target="../tags/tag19.xml"/><Relationship Id="rId59" Type="http://schemas.openxmlformats.org/officeDocument/2006/relationships/tags" Target="../tags/tag40.xml"/><Relationship Id="rId103" Type="http://schemas.openxmlformats.org/officeDocument/2006/relationships/image" Target="../media/image12.png"/><Relationship Id="rId108" Type="http://schemas.openxmlformats.org/officeDocument/2006/relationships/image" Target="../media/image17.svg"/><Relationship Id="rId124" Type="http://schemas.openxmlformats.org/officeDocument/2006/relationships/image" Target="../media/image33.svg"/><Relationship Id="rId129" Type="http://schemas.openxmlformats.org/officeDocument/2006/relationships/image" Target="../media/image38.png"/><Relationship Id="rId54" Type="http://schemas.openxmlformats.org/officeDocument/2006/relationships/tags" Target="../tags/tag35.xml"/><Relationship Id="rId70" Type="http://schemas.openxmlformats.org/officeDocument/2006/relationships/tags" Target="../tags/tag51.xml"/><Relationship Id="rId75" Type="http://schemas.openxmlformats.org/officeDocument/2006/relationships/tags" Target="../tags/tag56.xml"/><Relationship Id="rId91" Type="http://schemas.openxmlformats.org/officeDocument/2006/relationships/tags" Target="../tags/tag72.xml"/><Relationship Id="rId96" Type="http://schemas.openxmlformats.org/officeDocument/2006/relationships/tags" Target="../tags/tag77.xml"/><Relationship Id="rId140" Type="http://schemas.openxmlformats.org/officeDocument/2006/relationships/image" Target="../media/image49.svg"/><Relationship Id="rId145" Type="http://schemas.openxmlformats.org/officeDocument/2006/relationships/image" Target="../media/image54.png"/><Relationship Id="rId161" Type="http://schemas.openxmlformats.org/officeDocument/2006/relationships/image" Target="../media/image70.png"/><Relationship Id="rId166" Type="http://schemas.openxmlformats.org/officeDocument/2006/relationships/image" Target="../media/image75.sv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49" Type="http://schemas.openxmlformats.org/officeDocument/2006/relationships/tags" Target="../tags/tag30.xml"/><Relationship Id="rId57" Type="http://schemas.openxmlformats.org/officeDocument/2006/relationships/tags" Target="../tags/tag38.xml"/><Relationship Id="rId106" Type="http://schemas.openxmlformats.org/officeDocument/2006/relationships/image" Target="../media/image15.svg"/><Relationship Id="rId114" Type="http://schemas.openxmlformats.org/officeDocument/2006/relationships/image" Target="../media/image23.svg"/><Relationship Id="rId119" Type="http://schemas.openxmlformats.org/officeDocument/2006/relationships/image" Target="../media/image28.png"/><Relationship Id="rId127" Type="http://schemas.openxmlformats.org/officeDocument/2006/relationships/image" Target="../media/image36.png"/><Relationship Id="rId10" Type="http://schemas.openxmlformats.org/officeDocument/2006/relationships/slideLayout" Target="../slideLayouts/slideLayout41.xml"/><Relationship Id="rId31" Type="http://schemas.openxmlformats.org/officeDocument/2006/relationships/tags" Target="../tags/tag12.xml"/><Relationship Id="rId44" Type="http://schemas.openxmlformats.org/officeDocument/2006/relationships/tags" Target="../tags/tag25.xml"/><Relationship Id="rId52" Type="http://schemas.openxmlformats.org/officeDocument/2006/relationships/tags" Target="../tags/tag33.xml"/><Relationship Id="rId60" Type="http://schemas.openxmlformats.org/officeDocument/2006/relationships/tags" Target="../tags/tag41.xml"/><Relationship Id="rId65" Type="http://schemas.openxmlformats.org/officeDocument/2006/relationships/tags" Target="../tags/tag46.xml"/><Relationship Id="rId73" Type="http://schemas.openxmlformats.org/officeDocument/2006/relationships/tags" Target="../tags/tag54.xml"/><Relationship Id="rId78" Type="http://schemas.openxmlformats.org/officeDocument/2006/relationships/tags" Target="../tags/tag59.xml"/><Relationship Id="rId81" Type="http://schemas.openxmlformats.org/officeDocument/2006/relationships/tags" Target="../tags/tag62.xml"/><Relationship Id="rId86" Type="http://schemas.openxmlformats.org/officeDocument/2006/relationships/tags" Target="../tags/tag67.xml"/><Relationship Id="rId94" Type="http://schemas.openxmlformats.org/officeDocument/2006/relationships/tags" Target="../tags/tag75.xml"/><Relationship Id="rId99" Type="http://schemas.openxmlformats.org/officeDocument/2006/relationships/tags" Target="../tags/tag80.xml"/><Relationship Id="rId101" Type="http://schemas.openxmlformats.org/officeDocument/2006/relationships/oleObject" Target="../embeddings/oleObject1.bin"/><Relationship Id="rId122" Type="http://schemas.openxmlformats.org/officeDocument/2006/relationships/image" Target="../media/image31.svg"/><Relationship Id="rId130" Type="http://schemas.openxmlformats.org/officeDocument/2006/relationships/image" Target="../media/image39.svg"/><Relationship Id="rId135" Type="http://schemas.openxmlformats.org/officeDocument/2006/relationships/image" Target="../media/image44.png"/><Relationship Id="rId143" Type="http://schemas.openxmlformats.org/officeDocument/2006/relationships/image" Target="../media/image52.png"/><Relationship Id="rId148" Type="http://schemas.openxmlformats.org/officeDocument/2006/relationships/image" Target="../media/image57.svg"/><Relationship Id="rId151" Type="http://schemas.openxmlformats.org/officeDocument/2006/relationships/image" Target="../media/image60.png"/><Relationship Id="rId156" Type="http://schemas.openxmlformats.org/officeDocument/2006/relationships/image" Target="../media/image65.svg"/><Relationship Id="rId164" Type="http://schemas.openxmlformats.org/officeDocument/2006/relationships/image" Target="../media/image73.sv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9" Type="http://schemas.openxmlformats.org/officeDocument/2006/relationships/tags" Target="../tags/tag20.xml"/><Relationship Id="rId109" Type="http://schemas.openxmlformats.org/officeDocument/2006/relationships/image" Target="../media/image18.png"/><Relationship Id="rId34" Type="http://schemas.openxmlformats.org/officeDocument/2006/relationships/tags" Target="../tags/tag15.xml"/><Relationship Id="rId50" Type="http://schemas.openxmlformats.org/officeDocument/2006/relationships/tags" Target="../tags/tag31.xml"/><Relationship Id="rId55" Type="http://schemas.openxmlformats.org/officeDocument/2006/relationships/tags" Target="../tags/tag36.xml"/><Relationship Id="rId76" Type="http://schemas.openxmlformats.org/officeDocument/2006/relationships/tags" Target="../tags/tag57.xml"/><Relationship Id="rId97" Type="http://schemas.openxmlformats.org/officeDocument/2006/relationships/tags" Target="../tags/tag78.xml"/><Relationship Id="rId104" Type="http://schemas.openxmlformats.org/officeDocument/2006/relationships/image" Target="../media/image13.svg"/><Relationship Id="rId120" Type="http://schemas.openxmlformats.org/officeDocument/2006/relationships/image" Target="../media/image29.svg"/><Relationship Id="rId125" Type="http://schemas.openxmlformats.org/officeDocument/2006/relationships/image" Target="../media/image34.png"/><Relationship Id="rId141" Type="http://schemas.openxmlformats.org/officeDocument/2006/relationships/image" Target="../media/image50.png"/><Relationship Id="rId146" Type="http://schemas.openxmlformats.org/officeDocument/2006/relationships/image" Target="../media/image55.svg"/><Relationship Id="rId7" Type="http://schemas.openxmlformats.org/officeDocument/2006/relationships/slideLayout" Target="../slideLayouts/slideLayout38.xml"/><Relationship Id="rId71" Type="http://schemas.openxmlformats.org/officeDocument/2006/relationships/tags" Target="../tags/tag52.xml"/><Relationship Id="rId92" Type="http://schemas.openxmlformats.org/officeDocument/2006/relationships/tags" Target="../tags/tag73.xml"/><Relationship Id="rId162" Type="http://schemas.openxmlformats.org/officeDocument/2006/relationships/image" Target="../media/image71.svg"/><Relationship Id="rId2" Type="http://schemas.openxmlformats.org/officeDocument/2006/relationships/slideLayout" Target="../slideLayouts/slideLayout33.xml"/><Relationship Id="rId29" Type="http://schemas.openxmlformats.org/officeDocument/2006/relationships/tags" Target="../tags/tag10.xml"/><Relationship Id="rId24" Type="http://schemas.openxmlformats.org/officeDocument/2006/relationships/tags" Target="../tags/tag5.xml"/><Relationship Id="rId40" Type="http://schemas.openxmlformats.org/officeDocument/2006/relationships/tags" Target="../tags/tag21.xml"/><Relationship Id="rId45" Type="http://schemas.openxmlformats.org/officeDocument/2006/relationships/tags" Target="../tags/tag26.xml"/><Relationship Id="rId66" Type="http://schemas.openxmlformats.org/officeDocument/2006/relationships/tags" Target="../tags/tag47.xml"/><Relationship Id="rId87" Type="http://schemas.openxmlformats.org/officeDocument/2006/relationships/tags" Target="../tags/tag68.xml"/><Relationship Id="rId110" Type="http://schemas.openxmlformats.org/officeDocument/2006/relationships/image" Target="../media/image19.svg"/><Relationship Id="rId115" Type="http://schemas.openxmlformats.org/officeDocument/2006/relationships/image" Target="../media/image24.png"/><Relationship Id="rId131" Type="http://schemas.openxmlformats.org/officeDocument/2006/relationships/image" Target="../media/image40.png"/><Relationship Id="rId136" Type="http://schemas.openxmlformats.org/officeDocument/2006/relationships/image" Target="../media/image45.svg"/><Relationship Id="rId157" Type="http://schemas.openxmlformats.org/officeDocument/2006/relationships/image" Target="../media/image66.png"/><Relationship Id="rId61" Type="http://schemas.openxmlformats.org/officeDocument/2006/relationships/tags" Target="../tags/tag42.xml"/><Relationship Id="rId82" Type="http://schemas.openxmlformats.org/officeDocument/2006/relationships/tags" Target="../tags/tag63.xml"/><Relationship Id="rId152" Type="http://schemas.openxmlformats.org/officeDocument/2006/relationships/image" Target="../media/image61.svg"/><Relationship Id="rId19" Type="http://schemas.openxmlformats.org/officeDocument/2006/relationships/theme" Target="../theme/theme3.xml"/><Relationship Id="rId14" Type="http://schemas.openxmlformats.org/officeDocument/2006/relationships/slideLayout" Target="../slideLayouts/slideLayout45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56" Type="http://schemas.openxmlformats.org/officeDocument/2006/relationships/tags" Target="../tags/tag37.xml"/><Relationship Id="rId77" Type="http://schemas.openxmlformats.org/officeDocument/2006/relationships/tags" Target="../tags/tag58.xml"/><Relationship Id="rId100" Type="http://schemas.openxmlformats.org/officeDocument/2006/relationships/tags" Target="../tags/tag81.xml"/><Relationship Id="rId105" Type="http://schemas.openxmlformats.org/officeDocument/2006/relationships/image" Target="../media/image14.png"/><Relationship Id="rId126" Type="http://schemas.openxmlformats.org/officeDocument/2006/relationships/image" Target="../media/image35.svg"/><Relationship Id="rId147" Type="http://schemas.openxmlformats.org/officeDocument/2006/relationships/image" Target="../media/image56.png"/><Relationship Id="rId8" Type="http://schemas.openxmlformats.org/officeDocument/2006/relationships/slideLayout" Target="../slideLayouts/slideLayout39.xml"/><Relationship Id="rId51" Type="http://schemas.openxmlformats.org/officeDocument/2006/relationships/tags" Target="../tags/tag32.xml"/><Relationship Id="rId72" Type="http://schemas.openxmlformats.org/officeDocument/2006/relationships/tags" Target="../tags/tag53.xml"/><Relationship Id="rId93" Type="http://schemas.openxmlformats.org/officeDocument/2006/relationships/tags" Target="../tags/tag74.xml"/><Relationship Id="rId98" Type="http://schemas.openxmlformats.org/officeDocument/2006/relationships/tags" Target="../tags/tag79.xml"/><Relationship Id="rId121" Type="http://schemas.openxmlformats.org/officeDocument/2006/relationships/image" Target="../media/image30.png"/><Relationship Id="rId142" Type="http://schemas.openxmlformats.org/officeDocument/2006/relationships/image" Target="../media/image51.svg"/><Relationship Id="rId163" Type="http://schemas.openxmlformats.org/officeDocument/2006/relationships/image" Target="../media/image72.png"/><Relationship Id="rId3" Type="http://schemas.openxmlformats.org/officeDocument/2006/relationships/slideLayout" Target="../slideLayouts/slideLayout34.xml"/><Relationship Id="rId25" Type="http://schemas.openxmlformats.org/officeDocument/2006/relationships/tags" Target="../tags/tag6.xml"/><Relationship Id="rId46" Type="http://schemas.openxmlformats.org/officeDocument/2006/relationships/tags" Target="../tags/tag27.xml"/><Relationship Id="rId67" Type="http://schemas.openxmlformats.org/officeDocument/2006/relationships/tags" Target="../tags/tag48.xml"/><Relationship Id="rId116" Type="http://schemas.openxmlformats.org/officeDocument/2006/relationships/image" Target="../media/image25.svg"/><Relationship Id="rId137" Type="http://schemas.openxmlformats.org/officeDocument/2006/relationships/image" Target="../media/image46.png"/><Relationship Id="rId158" Type="http://schemas.openxmlformats.org/officeDocument/2006/relationships/image" Target="../media/image67.svg"/><Relationship Id="rId20" Type="http://schemas.openxmlformats.org/officeDocument/2006/relationships/tags" Target="../tags/tag1.xml"/><Relationship Id="rId41" Type="http://schemas.openxmlformats.org/officeDocument/2006/relationships/tags" Target="../tags/tag22.xml"/><Relationship Id="rId62" Type="http://schemas.openxmlformats.org/officeDocument/2006/relationships/tags" Target="../tags/tag43.xml"/><Relationship Id="rId83" Type="http://schemas.openxmlformats.org/officeDocument/2006/relationships/tags" Target="../tags/tag64.xml"/><Relationship Id="rId88" Type="http://schemas.openxmlformats.org/officeDocument/2006/relationships/tags" Target="../tags/tag69.xml"/><Relationship Id="rId111" Type="http://schemas.openxmlformats.org/officeDocument/2006/relationships/image" Target="../media/image20.png"/><Relationship Id="rId132" Type="http://schemas.openxmlformats.org/officeDocument/2006/relationships/image" Target="../media/image41.svg"/><Relationship Id="rId153" Type="http://schemas.openxmlformats.org/officeDocument/2006/relationships/image" Target="../media/image6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MSIPCMContentMarking" descr="{&quot;HashCode&quot;:417909460,&quot;Placement&quot;:&quot;Header&quot;,&quot;Top&quot;:0.0,&quot;Left&quot;:933.295349,&quot;SlideWidth&quot;:1920,&quot;SlideHeight&quot;:1080}">
            <a:extLst>
              <a:ext uri="{FF2B5EF4-FFF2-40B4-BE49-F238E27FC236}">
                <a16:creationId xmlns:a16="http://schemas.microsoft.com/office/drawing/2014/main" id="{702B8839-48F1-4CC5-8C5C-CCFA499FB81D}"/>
              </a:ext>
            </a:extLst>
          </p:cNvPr>
          <p:cNvSpPr txBox="1"/>
          <p:nvPr userDrawn="1"/>
        </p:nvSpPr>
        <p:spPr>
          <a:xfrm>
            <a:off x="11852851" y="0"/>
            <a:ext cx="678298" cy="2623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1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 panose="020F0502020204030204" pitchFamily="34" charset="0"/>
                <a:ea typeface="Helvetica Neue"/>
                <a:cs typeface="Helvetica Neue"/>
                <a:sym typeface="Helvetica Neue"/>
              </a:rPr>
              <a:t>Internal</a:t>
            </a:r>
            <a:endParaRPr kumimoji="0" lang="en-DE" sz="1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Helvetica Neue"/>
              <a:cs typeface="Helvetica Neue"/>
              <a:sym typeface="Helvetica Neue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87161" y="12744000"/>
            <a:ext cx="53799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2000"/>
              </a:lnSpc>
              <a:defRPr lang="en-US" sz="16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4" y="1750618"/>
            <a:ext cx="18649948" cy="18657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58849" y="3616327"/>
            <a:ext cx="22466302" cy="87153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Don´t use level 7 to 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8852" y="12331700"/>
            <a:ext cx="18649948" cy="7003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1600" b="0" cap="none" spc="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1384000" y="1008000"/>
            <a:ext cx="2035996" cy="504000"/>
          </a:xfrm>
          <a:prstGeom prst="rect">
            <a:avLst/>
          </a:prstGeom>
        </p:spPr>
      </p:pic>
      <p:sp>
        <p:nvSpPr>
          <p:cNvPr id="4" name="MSIPCMContentMarking" descr="{&quot;HashCode&quot;:417909460,&quot;Placement&quot;:&quot;Header&quot;,&quot;Top&quot;:0.0,&quot;Left&quot;:933.295349,&quot;SlideWidth&quot;:1920,&quot;SlideHeight&quot;:1080}">
            <a:extLst>
              <a:ext uri="{FF2B5EF4-FFF2-40B4-BE49-F238E27FC236}">
                <a16:creationId xmlns:a16="http://schemas.microsoft.com/office/drawing/2014/main" id="{D6313B8D-7ED8-4405-B7D1-6FCA705C8F77}"/>
              </a:ext>
            </a:extLst>
          </p:cNvPr>
          <p:cNvSpPr txBox="1"/>
          <p:nvPr userDrawn="1"/>
        </p:nvSpPr>
        <p:spPr>
          <a:xfrm>
            <a:off x="11852851" y="0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DE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570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l" defTabSz="1935420" rtl="0" eaLnBrk="1" latinLnBrk="0" hangingPunct="1">
        <a:lnSpc>
          <a:spcPts val="7600"/>
        </a:lnSpc>
        <a:spcBef>
          <a:spcPct val="0"/>
        </a:spcBef>
        <a:buNone/>
        <a:defRPr sz="76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935420" rtl="0" eaLnBrk="1" latinLnBrk="0" hangingPunct="1">
        <a:lnSpc>
          <a:spcPct val="100000"/>
        </a:lnSpc>
        <a:spcBef>
          <a:spcPts val="0"/>
        </a:spcBef>
        <a:buFont typeface="+mj-lt"/>
        <a:buNone/>
        <a:defRPr sz="4000" kern="1200">
          <a:solidFill>
            <a:schemeClr val="bg1"/>
          </a:solidFill>
          <a:latin typeface="+mn-lt"/>
          <a:ea typeface="+mn-ea"/>
          <a:cs typeface="+mn-cs"/>
        </a:defRPr>
      </a:lvl1pPr>
      <a:lvl2pPr marL="576000" indent="-576000" algn="l" defTabSz="193542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4000" kern="1200">
          <a:solidFill>
            <a:schemeClr val="bg1"/>
          </a:solidFill>
          <a:latin typeface="+mn-lt"/>
          <a:ea typeface="+mn-ea"/>
          <a:cs typeface="+mn-cs"/>
        </a:defRPr>
      </a:lvl2pPr>
      <a:lvl3pPr marL="576000" indent="-576000" algn="l" defTabSz="193542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4000" kern="1200">
          <a:solidFill>
            <a:schemeClr val="bg1"/>
          </a:solidFill>
          <a:latin typeface="+mn-lt"/>
          <a:ea typeface="+mn-ea"/>
          <a:cs typeface="+mn-cs"/>
        </a:defRPr>
      </a:lvl3pPr>
      <a:lvl4pPr marL="576000" indent="-576000" algn="l" defTabSz="193542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4000" kern="1200">
          <a:solidFill>
            <a:schemeClr val="bg1"/>
          </a:solidFill>
          <a:latin typeface="+mn-lt"/>
          <a:ea typeface="+mn-ea"/>
          <a:cs typeface="+mn-cs"/>
        </a:defRPr>
      </a:lvl4pPr>
      <a:lvl5pPr marL="1152000" indent="-576000" algn="l" defTabSz="193542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4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1935420" rtl="0" eaLnBrk="1" latinLnBrk="0" hangingPunct="1">
        <a:lnSpc>
          <a:spcPct val="100000"/>
        </a:lnSpc>
        <a:spcBef>
          <a:spcPts val="4800"/>
        </a:spcBef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193542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3600" kern="1200">
          <a:solidFill>
            <a:srgbClr val="FF0000"/>
          </a:solidFill>
          <a:latin typeface="+mn-lt"/>
          <a:ea typeface="+mn-ea"/>
          <a:cs typeface="+mn-cs"/>
        </a:defRPr>
      </a:lvl7pPr>
      <a:lvl8pPr marL="7257822" indent="-483854" algn="l" defTabSz="1935420" rtl="0" eaLnBrk="1" latinLnBrk="0" hangingPunct="1">
        <a:lnSpc>
          <a:spcPct val="90000"/>
        </a:lnSpc>
        <a:spcBef>
          <a:spcPts val="1058"/>
        </a:spcBef>
        <a:buFont typeface="Arial" panose="020B0604020202020204" pitchFamily="34" charset="0"/>
        <a:buChar char="•"/>
        <a:defRPr sz="3810" kern="1200">
          <a:solidFill>
            <a:schemeClr val="tx1"/>
          </a:solidFill>
          <a:latin typeface="+mn-lt"/>
          <a:ea typeface="+mn-ea"/>
          <a:cs typeface="+mn-cs"/>
        </a:defRPr>
      </a:lvl8pPr>
      <a:lvl9pPr marL="8225530" indent="-483854" algn="l" defTabSz="1935420" rtl="0" eaLnBrk="1" latinLnBrk="0" hangingPunct="1">
        <a:lnSpc>
          <a:spcPct val="90000"/>
        </a:lnSpc>
        <a:spcBef>
          <a:spcPts val="1058"/>
        </a:spcBef>
        <a:buFont typeface="Arial" panose="020B0604020202020204" pitchFamily="34" charset="0"/>
        <a:buChar char="•"/>
        <a:defRPr sz="381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1pPr>
      <a:lvl2pPr marL="967710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2pPr>
      <a:lvl3pPr marL="1935420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3pPr>
      <a:lvl4pPr marL="2903128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4pPr>
      <a:lvl5pPr marL="3870838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5pPr>
      <a:lvl6pPr marL="4838548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6pPr>
      <a:lvl7pPr marL="5806258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7pPr>
      <a:lvl8pPr marL="6773966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8pPr>
      <a:lvl9pPr marL="7741676" algn="l" defTabSz="1935420" rtl="0" eaLnBrk="1" latinLnBrk="0" hangingPunct="1">
        <a:defRPr sz="38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36214694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1" imgW="413" imgH="416" progId="TCLayout.ActiveDocument.1">
                  <p:embed/>
                </p:oleObj>
              </mc:Choice>
              <mc:Fallback>
                <p:oleObj name="think-cell Slide" r:id="rId10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2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5" name="Grid" hidden="1">
            <a:extLst>
              <a:ext uri="{FF2B5EF4-FFF2-40B4-BE49-F238E27FC236}">
                <a16:creationId xmlns:a16="http://schemas.microsoft.com/office/drawing/2014/main" id="{8D2BC216-DA19-44EC-A868-21B693156808}"/>
              </a:ext>
            </a:extLst>
          </p:cNvPr>
          <p:cNvGrpSpPr/>
          <p:nvPr userDrawn="1"/>
        </p:nvGrpSpPr>
        <p:grpSpPr>
          <a:xfrm>
            <a:off x="1" y="0"/>
            <a:ext cx="24380950" cy="13716000"/>
            <a:chOff x="0" y="0"/>
            <a:chExt cx="12190475" cy="6858000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474647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712574" y="0"/>
              <a:ext cx="477901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78829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40371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75332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1836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68340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4844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348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852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4356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50860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7364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43868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00400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065439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30478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3995516" y="0"/>
              <a:ext cx="344063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60555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5594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90633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55672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820711" y="0"/>
              <a:ext cx="344064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85749" y="0"/>
              <a:ext cx="344063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750787" y="0"/>
              <a:ext cx="34081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34696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444463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09502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374541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39580" y="0"/>
              <a:ext cx="617730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04618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9657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99735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64774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129813" y="0"/>
              <a:ext cx="617730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94854" y="0"/>
              <a:ext cx="617721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479424" y="0"/>
              <a:ext cx="617731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479424" y="2331720"/>
              <a:ext cx="11233151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479424" y="1865376"/>
              <a:ext cx="11233151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FA0D5567-266C-415C-B1C9-2CD315336245}"/>
                </a:ext>
              </a:extLst>
            </p:cNvPr>
            <p:cNvSpPr/>
            <p:nvPr userDrawn="1"/>
          </p:nvSpPr>
          <p:spPr bwMode="invGray">
            <a:xfrm>
              <a:off x="0" y="0"/>
              <a:ext cx="12188952" cy="6858000"/>
            </a:xfrm>
            <a:custGeom>
              <a:avLst/>
              <a:gdLst>
                <a:gd name="connsiteX0" fmla="*/ 479424 w 12188952"/>
                <a:gd name="connsiteY0" fmla="*/ 1865376 h 6858000"/>
                <a:gd name="connsiteX1" fmla="*/ 479424 w 12188952"/>
                <a:gd name="connsiteY1" fmla="*/ 2176270 h 6858000"/>
                <a:gd name="connsiteX2" fmla="*/ 477900 w 12188952"/>
                <a:gd name="connsiteY2" fmla="*/ 2176270 h 6858000"/>
                <a:gd name="connsiteX3" fmla="*/ 477900 w 12188952"/>
                <a:gd name="connsiteY3" fmla="*/ 6217919 h 6858000"/>
                <a:gd name="connsiteX4" fmla="*/ 479424 w 12188952"/>
                <a:gd name="connsiteY4" fmla="*/ 6217919 h 6858000"/>
                <a:gd name="connsiteX5" fmla="*/ 479424 w 12188952"/>
                <a:gd name="connsiteY5" fmla="*/ 6217920 h 6858000"/>
                <a:gd name="connsiteX6" fmla="*/ 551868 w 12188952"/>
                <a:gd name="connsiteY6" fmla="*/ 6217920 h 6858000"/>
                <a:gd name="connsiteX7" fmla="*/ 11636196 w 12188952"/>
                <a:gd name="connsiteY7" fmla="*/ 6217920 h 6858000"/>
                <a:gd name="connsiteX8" fmla="*/ 11712575 w 12188952"/>
                <a:gd name="connsiteY8" fmla="*/ 6217920 h 6858000"/>
                <a:gd name="connsiteX9" fmla="*/ 11712575 w 12188952"/>
                <a:gd name="connsiteY9" fmla="*/ 1865376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479424" y="1865376"/>
                  </a:moveTo>
                  <a:lnTo>
                    <a:pt x="479424" y="2176270"/>
                  </a:lnTo>
                  <a:lnTo>
                    <a:pt x="477900" y="2176270"/>
                  </a:lnTo>
                  <a:lnTo>
                    <a:pt x="477900" y="6217919"/>
                  </a:lnTo>
                  <a:lnTo>
                    <a:pt x="479424" y="6217919"/>
                  </a:lnTo>
                  <a:lnTo>
                    <a:pt x="479424" y="6217920"/>
                  </a:lnTo>
                  <a:lnTo>
                    <a:pt x="551868" y="6217920"/>
                  </a:lnTo>
                  <a:lnTo>
                    <a:pt x="11636196" y="6217920"/>
                  </a:lnTo>
                  <a:lnTo>
                    <a:pt x="11712575" y="6217920"/>
                  </a:lnTo>
                  <a:lnTo>
                    <a:pt x="11712575" y="1865376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sz="6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3" name="main body box">
              <a:extLst>
                <a:ext uri="{FF2B5EF4-FFF2-40B4-BE49-F238E27FC236}">
                  <a16:creationId xmlns:a16="http://schemas.microsoft.com/office/drawing/2014/main" id="{30BCA065-7C13-4E63-A268-3A3CB34FD95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79424" y="1865376"/>
              <a:ext cx="11233151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2646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958848" y="12499652"/>
            <a:ext cx="1455724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 userDrawn="1">
            <p:ph type="title"/>
            <p:custDataLst>
              <p:tags r:id="rId22"/>
            </p:custDataLst>
          </p:nvPr>
        </p:nvSpPr>
        <p:spPr>
          <a:xfrm>
            <a:off x="958848" y="893369"/>
            <a:ext cx="18649948" cy="718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1975477" y="5332200"/>
            <a:ext cx="6098506" cy="92333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3200">
                <a:solidFill>
                  <a:schemeClr val="bg1"/>
                </a:solidFill>
              </a:rPr>
              <a:t>Above Chart Exhibit Title</a:t>
            </a:r>
            <a:br>
              <a:rPr lang="en-US" sz="3200">
                <a:solidFill>
                  <a:schemeClr val="bg1"/>
                </a:solidFill>
              </a:rPr>
            </a:br>
            <a:r>
              <a:rPr lang="en-US" sz="2800" b="0">
                <a:solidFill>
                  <a:schemeClr val="bg1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958848" y="5332201"/>
            <a:ext cx="5786004" cy="2769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1C7F2BF-F64B-41F5-B582-FA42F0A6378B}"/>
              </a:ext>
            </a:extLst>
          </p:cNvPr>
          <p:cNvGrpSpPr/>
          <p:nvPr userDrawn="1"/>
        </p:nvGrpSpPr>
        <p:grpSpPr>
          <a:xfrm>
            <a:off x="20785230" y="6662399"/>
            <a:ext cx="2683202" cy="1916572"/>
            <a:chOff x="10162879" y="3243773"/>
            <a:chExt cx="1341601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735CB47-BE7E-4DAD-92C3-C488AF317246}"/>
                </a:ext>
              </a:extLst>
            </p:cNvPr>
            <p:cNvSpPr txBox="1"/>
            <p:nvPr/>
          </p:nvSpPr>
          <p:spPr>
            <a:xfrm>
              <a:off x="10864882" y="3243773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B3147FB8-B50C-4615-8D22-3FB89A1FF8F8}"/>
                </a:ext>
              </a:extLst>
            </p:cNvPr>
            <p:cNvSpPr txBox="1"/>
            <p:nvPr/>
          </p:nvSpPr>
          <p:spPr>
            <a:xfrm>
              <a:off x="10864882" y="3615194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19A0DF0-783E-4A96-88D1-8015F6C0DE69}"/>
                </a:ext>
              </a:extLst>
            </p:cNvPr>
            <p:cNvSpPr txBox="1"/>
            <p:nvPr/>
          </p:nvSpPr>
          <p:spPr>
            <a:xfrm>
              <a:off x="10864882" y="3986615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9B8529C3-3750-4DB3-99A5-41FEBB04CBC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2800" baseline="0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A2D313A-BE6B-4D64-96C3-5D0D738F509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2800" baseline="0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12AE3FC-3A1B-4259-A204-C819D93DB3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2800" baseline="0">
                <a:solidFill>
                  <a:schemeClr val="bg1"/>
                </a:solidFill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B19E0F6-F908-4759-9978-E6D5A3160A65}"/>
              </a:ext>
            </a:extLst>
          </p:cNvPr>
          <p:cNvGrpSpPr/>
          <p:nvPr userDrawn="1"/>
        </p:nvGrpSpPr>
        <p:grpSpPr>
          <a:xfrm>
            <a:off x="21527253" y="2862247"/>
            <a:ext cx="1941180" cy="3463718"/>
            <a:chOff x="7723680" y="1702457"/>
            <a:chExt cx="970590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8B62326C-6821-49B2-B9C5-422A37ADB6AB}"/>
                </a:ext>
              </a:extLst>
            </p:cNvPr>
            <p:cNvSpPr txBox="1"/>
            <p:nvPr/>
          </p:nvSpPr>
          <p:spPr>
            <a:xfrm>
              <a:off x="8054672" y="1709817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E8E673AA-10DE-47C3-8799-14E317997D50}"/>
                </a:ext>
              </a:extLst>
            </p:cNvPr>
            <p:cNvSpPr txBox="1"/>
            <p:nvPr/>
          </p:nvSpPr>
          <p:spPr>
            <a:xfrm>
              <a:off x="8054672" y="2085276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9896785C-8766-4210-9DD4-0DEB22E750ED}"/>
                </a:ext>
              </a:extLst>
            </p:cNvPr>
            <p:cNvSpPr txBox="1"/>
            <p:nvPr/>
          </p:nvSpPr>
          <p:spPr>
            <a:xfrm>
              <a:off x="8054672" y="2460735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CBD9A4B7-70A9-4D59-B335-5E5EB1A08B74}"/>
                </a:ext>
              </a:extLst>
            </p:cNvPr>
            <p:cNvSpPr txBox="1"/>
            <p:nvPr/>
          </p:nvSpPr>
          <p:spPr>
            <a:xfrm>
              <a:off x="8054672" y="2836194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21223D36-2F7B-43DB-B732-F8862F6C02AA}"/>
                </a:ext>
              </a:extLst>
            </p:cNvPr>
            <p:cNvSpPr txBox="1"/>
            <p:nvPr/>
          </p:nvSpPr>
          <p:spPr>
            <a:xfrm>
              <a:off x="8054672" y="3211655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1807348-395D-480B-9B7A-DB033655A2ED}"/>
                </a:ext>
              </a:extLst>
            </p:cNvPr>
            <p:cNvGrpSpPr>
              <a:grpSpLocks noChangeAspect="1"/>
            </p:cNvGrpSpPr>
            <p:nvPr>
              <p:custDataLst>
                <p:tags r:id="rId8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D629EB4-FA15-4E00-AE6C-4F24FE48650F}"/>
                  </a:ext>
                </a:extLst>
              </p:cNvPr>
              <p:cNvSpPr/>
              <p:nvPr>
                <p:custDataLst>
                  <p:tags r:id="rId9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DC9EBEF3-161B-462B-A575-1E6528A05F79}"/>
                  </a:ext>
                </a:extLst>
              </p:cNvPr>
              <p:cNvSpPr/>
              <p:nvPr>
                <p:custDataLst>
                  <p:tags r:id="rId10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AE508F33-E395-4FF9-80BA-376C25ABA578}"/>
                </a:ext>
              </a:extLst>
            </p:cNvPr>
            <p:cNvGrpSpPr>
              <a:grpSpLocks noChangeAspect="1"/>
            </p:cNvGrpSpPr>
            <p:nvPr>
              <p:custDataLst>
                <p:tags r:id="rId8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4FBB5CC9-C99C-4D0F-AA27-E5B668E53FA4}"/>
                  </a:ext>
                </a:extLst>
              </p:cNvPr>
              <p:cNvSpPr/>
              <p:nvPr>
                <p:custDataLst>
                  <p:tags r:id="rId9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CDDF2527-8EA7-427E-B484-9F18B64B43EB}"/>
                  </a:ext>
                </a:extLst>
              </p:cNvPr>
              <p:cNvSpPr/>
              <p:nvPr>
                <p:custDataLst>
                  <p:tags r:id="rId9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03F74C0F-3F4A-4F63-8AE5-E15EBD402503}"/>
                </a:ext>
              </a:extLst>
            </p:cNvPr>
            <p:cNvGrpSpPr>
              <a:grpSpLocks noChangeAspect="1"/>
            </p:cNvGrpSpPr>
            <p:nvPr>
              <p:custDataLst>
                <p:tags r:id="rId8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0440E55-4F2C-4D7F-82BE-6F1DD870AA39}"/>
                  </a:ext>
                </a:extLst>
              </p:cNvPr>
              <p:cNvSpPr/>
              <p:nvPr>
                <p:custDataLst>
                  <p:tags r:id="rId9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E4B2DE1F-DA23-4B8F-92B2-3C604B840D52}"/>
                  </a:ext>
                </a:extLst>
              </p:cNvPr>
              <p:cNvSpPr/>
              <p:nvPr>
                <p:custDataLst>
                  <p:tags r:id="rId9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CEF87BBE-C91A-41F2-9D56-A2C8983AC05F}"/>
                </a:ext>
              </a:extLst>
            </p:cNvPr>
            <p:cNvGrpSpPr>
              <a:grpSpLocks noChangeAspect="1"/>
            </p:cNvGrpSpPr>
            <p:nvPr>
              <p:custDataLst>
                <p:tags r:id="rId8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F72C9226-BBDF-40C4-B42E-2D88B68A0664}"/>
                  </a:ext>
                </a:extLst>
              </p:cNvPr>
              <p:cNvSpPr/>
              <p:nvPr>
                <p:custDataLst>
                  <p:tags r:id="rId9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6954545B-7874-4933-8F2A-CC0180674B4F}"/>
                  </a:ext>
                </a:extLst>
              </p:cNvPr>
              <p:cNvSpPr/>
              <p:nvPr>
                <p:custDataLst>
                  <p:tags r:id="rId9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AD66BA4-72EC-47A5-A6C1-D3556EE558BB}"/>
                </a:ext>
              </a:extLst>
            </p:cNvPr>
            <p:cNvGrpSpPr>
              <a:grpSpLocks noChangeAspect="1"/>
            </p:cNvGrpSpPr>
            <p:nvPr>
              <p:custDataLst>
                <p:tags r:id="rId9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6F7FAC1E-5798-423D-AC71-635129876323}"/>
                  </a:ext>
                </a:extLst>
              </p:cNvPr>
              <p:cNvSpPr/>
              <p:nvPr>
                <p:custDataLst>
                  <p:tags r:id="rId9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9F090521-30F2-4C99-A7F9-C0C869A24D7D}"/>
                  </a:ext>
                </a:extLst>
              </p:cNvPr>
              <p:cNvSpPr/>
              <p:nvPr>
                <p:custDataLst>
                  <p:tags r:id="rId9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280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DFAEBC-DD5C-44D3-84C5-FB112F7368EF}"/>
              </a:ext>
            </a:extLst>
          </p:cNvPr>
          <p:cNvGrpSpPr/>
          <p:nvPr userDrawn="1"/>
        </p:nvGrpSpPr>
        <p:grpSpPr>
          <a:xfrm>
            <a:off x="21580224" y="8915403"/>
            <a:ext cx="1888208" cy="3434564"/>
            <a:chOff x="10652400" y="4322825"/>
            <a:chExt cx="944104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F420F00-3271-4289-AA4F-C1D61476E0B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2800">
                <a:solidFill>
                  <a:schemeClr val="bg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C475915-3EAA-4C8F-A17D-8827C4352E5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2800">
                <a:solidFill>
                  <a:schemeClr val="bg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81EBF49F-CDDB-414E-AE5E-052173DA1E7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2800">
                <a:solidFill>
                  <a:schemeClr val="bg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4625E407-A786-4473-B5DF-2B7318D8600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2800">
                <a:solidFill>
                  <a:schemeClr val="bg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60782DC-5CD9-46E4-872D-1CA4CF44926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2800">
                <a:solidFill>
                  <a:schemeClr val="bg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7F48955D-FED8-4CD4-A8D8-19536AF45B45}"/>
                </a:ext>
              </a:extLst>
            </p:cNvPr>
            <p:cNvSpPr txBox="1"/>
            <p:nvPr/>
          </p:nvSpPr>
          <p:spPr>
            <a:xfrm>
              <a:off x="10956906" y="4322825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5F80BBA1-BAF2-43DA-9D04-1D7E105ED972}"/>
                </a:ext>
              </a:extLst>
            </p:cNvPr>
            <p:cNvSpPr txBox="1"/>
            <p:nvPr/>
          </p:nvSpPr>
          <p:spPr>
            <a:xfrm>
              <a:off x="10956906" y="4702323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0122FFBF-CBDE-4282-8EC8-07AFF3F96853}"/>
                </a:ext>
              </a:extLst>
            </p:cNvPr>
            <p:cNvSpPr txBox="1"/>
            <p:nvPr/>
          </p:nvSpPr>
          <p:spPr>
            <a:xfrm>
              <a:off x="10956906" y="5081821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353348FE-4DF0-4667-9ED2-97D726EF0CE0}"/>
                </a:ext>
              </a:extLst>
            </p:cNvPr>
            <p:cNvSpPr txBox="1"/>
            <p:nvPr/>
          </p:nvSpPr>
          <p:spPr>
            <a:xfrm>
              <a:off x="10956906" y="5453242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52BC54C9-ADE9-48F7-B035-906030EDA42F}"/>
                </a:ext>
              </a:extLst>
            </p:cNvPr>
            <p:cNvSpPr txBox="1"/>
            <p:nvPr/>
          </p:nvSpPr>
          <p:spPr>
            <a:xfrm>
              <a:off x="10956905" y="5824663"/>
              <a:ext cx="63959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1200"/>
                </a:spcAft>
              </a:pPr>
              <a:r>
                <a:rPr lang="en-US" sz="2800">
                  <a:solidFill>
                    <a:schemeClr val="bg1"/>
                  </a:solidFill>
                </a:rPr>
                <a:t>Legend</a:t>
              </a:r>
            </a:p>
          </p:txBody>
        </p:sp>
      </p:grpSp>
      <p:sp>
        <p:nvSpPr>
          <p:cNvPr id="148" name="TrackerAlphaWhite" hidden="1">
            <a:extLst>
              <a:ext uri="{FF2B5EF4-FFF2-40B4-BE49-F238E27FC236}">
                <a16:creationId xmlns:a16="http://schemas.microsoft.com/office/drawing/2014/main" id="{BA6A1974-079F-42F9-AB1B-9FE5C82F08A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18477332" y="5018876"/>
            <a:ext cx="558680" cy="558680"/>
          </a:xfrm>
          <a:prstGeom prst="ellipse">
            <a:avLst/>
          </a:prstGeom>
          <a:solidFill>
            <a:schemeClr val="tx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</a:pPr>
            <a:r>
              <a:rPr lang="en-US" sz="280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149" name="TrackerNumWhite" hidden="1">
            <a:extLst>
              <a:ext uri="{FF2B5EF4-FFF2-40B4-BE49-F238E27FC236}">
                <a16:creationId xmlns:a16="http://schemas.microsoft.com/office/drawing/2014/main" id="{17203379-C9A2-48CB-B975-A823866806ED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18477332" y="6034876"/>
            <a:ext cx="558680" cy="558680"/>
          </a:xfrm>
          <a:prstGeom prst="ellipse">
            <a:avLst/>
          </a:prstGeom>
          <a:solidFill>
            <a:schemeClr val="tx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</a:pPr>
            <a:r>
              <a:rPr lang="en-US" sz="280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50" name="TrackerAlphaBlue" hidden="1">
            <a:extLst>
              <a:ext uri="{FF2B5EF4-FFF2-40B4-BE49-F238E27FC236}">
                <a16:creationId xmlns:a16="http://schemas.microsoft.com/office/drawing/2014/main" id="{010C109C-2BD5-4EE5-A77F-DECB8C8BBBE2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18477332" y="7050876"/>
            <a:ext cx="558680" cy="55868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51" name="TrackerNumBlue" hidden="1">
            <a:extLst>
              <a:ext uri="{FF2B5EF4-FFF2-40B4-BE49-F238E27FC236}">
                <a16:creationId xmlns:a16="http://schemas.microsoft.com/office/drawing/2014/main" id="{B07F6A2D-5459-41ED-ACBB-E89FF92D3362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18477332" y="8066876"/>
            <a:ext cx="558680" cy="55868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spcAft>
                <a:spcPts val="600"/>
              </a:spcAft>
            </a:pPr>
            <a:r>
              <a:rPr lang="en-US" sz="2800">
                <a:solidFill>
                  <a:schemeClr val="tx1"/>
                </a:solidFill>
              </a:rPr>
              <a:t>1</a:t>
            </a:r>
          </a:p>
        </p:txBody>
      </p:sp>
      <p:pic>
        <p:nvPicPr>
          <p:cNvPr id="152" name="StatusGauge" hidden="1">
            <a:extLst>
              <a:ext uri="{FF2B5EF4-FFF2-40B4-BE49-F238E27FC236}">
                <a16:creationId xmlns:a16="http://schemas.microsoft.com/office/drawing/2014/main" id="{D310BB70-5746-4B14-81F1-2C668061C574}"/>
              </a:ext>
            </a:extLst>
          </p:cNvPr>
          <p:cNvPicPr>
            <a:picLocks noChangeAspect="1"/>
          </p:cNvPicPr>
          <p:nvPr userDrawn="1">
            <p:custDataLst>
              <p:tags r:id="rId28"/>
            </p:custDataLst>
          </p:nvPr>
        </p:nvPicPr>
        <p:blipFill>
          <a:blip r:embed="rId103">
            <a:extLs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2597736" y="4818224"/>
            <a:ext cx="762000" cy="762000"/>
          </a:xfrm>
          <a:prstGeom prst="rect">
            <a:avLst/>
          </a:prstGeom>
        </p:spPr>
      </p:pic>
      <p:pic>
        <p:nvPicPr>
          <p:cNvPr id="153" name="Checkmark" hidden="1">
            <a:extLst>
              <a:ext uri="{FF2B5EF4-FFF2-40B4-BE49-F238E27FC236}">
                <a16:creationId xmlns:a16="http://schemas.microsoft.com/office/drawing/2014/main" id="{BB78B574-205B-41D8-BE3F-36858C0D5003}"/>
              </a:ext>
            </a:extLst>
          </p:cNvPr>
          <p:cNvPicPr>
            <a:picLocks noChangeAspect="1"/>
          </p:cNvPicPr>
          <p:nvPr userDrawn="1">
            <p:custDataLst>
              <p:tags r:id="rId29"/>
            </p:custDataLst>
          </p:nvPr>
        </p:nvPicPr>
        <p:blipFill>
          <a:blip r:embed="rId105">
            <a:extLs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2597736" y="6007932"/>
            <a:ext cx="762000" cy="762000"/>
          </a:xfrm>
          <a:prstGeom prst="rect">
            <a:avLst/>
          </a:prstGeom>
        </p:spPr>
      </p:pic>
      <p:pic>
        <p:nvPicPr>
          <p:cNvPr id="154" name="CheckmarkDash" hidden="1">
            <a:extLst>
              <a:ext uri="{FF2B5EF4-FFF2-40B4-BE49-F238E27FC236}">
                <a16:creationId xmlns:a16="http://schemas.microsoft.com/office/drawing/2014/main" id="{47AC704F-3A90-4309-B76E-E1927D87CAA6}"/>
              </a:ext>
            </a:extLst>
          </p:cNvPr>
          <p:cNvPicPr>
            <a:picLocks noChangeAspect="1"/>
          </p:cNvPicPr>
          <p:nvPr userDrawn="1">
            <p:custDataLst>
              <p:tags r:id="rId30"/>
            </p:custDataLst>
          </p:nvPr>
        </p:nvPicPr>
        <p:blipFill>
          <a:blip r:embed="rId107">
            <a:extLs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2597736" y="7197640"/>
            <a:ext cx="762000" cy="762000"/>
          </a:xfrm>
          <a:prstGeom prst="rect">
            <a:avLst/>
          </a:prstGeom>
        </p:spPr>
      </p:pic>
      <p:pic>
        <p:nvPicPr>
          <p:cNvPr id="155" name="X" hidden="1">
            <a:extLst>
              <a:ext uri="{FF2B5EF4-FFF2-40B4-BE49-F238E27FC236}">
                <a16:creationId xmlns:a16="http://schemas.microsoft.com/office/drawing/2014/main" id="{7793BAD1-176A-4C73-9231-3CAB32080802}"/>
              </a:ext>
            </a:extLst>
          </p:cNvPr>
          <p:cNvPicPr>
            <a:picLocks noChangeAspect="1"/>
          </p:cNvPicPr>
          <p:nvPr userDrawn="1">
            <p:custDataLst>
              <p:tags r:id="rId31"/>
            </p:custDataLst>
          </p:nvPr>
        </p:nvPicPr>
        <p:blipFill>
          <a:blip r:embed="rId109">
            <a:extLs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2597736" y="8387348"/>
            <a:ext cx="762000" cy="762000"/>
          </a:xfrm>
          <a:prstGeom prst="rect">
            <a:avLst/>
          </a:prstGeom>
        </p:spPr>
      </p:pic>
      <p:pic>
        <p:nvPicPr>
          <p:cNvPr id="156" name="Filter" hidden="1">
            <a:extLst>
              <a:ext uri="{FF2B5EF4-FFF2-40B4-BE49-F238E27FC236}">
                <a16:creationId xmlns:a16="http://schemas.microsoft.com/office/drawing/2014/main" id="{34AF00A1-6AD5-4CE5-9556-6EDDC43A818C}"/>
              </a:ext>
            </a:extLst>
          </p:cNvPr>
          <p:cNvPicPr>
            <a:picLocks noChangeAspect="1"/>
          </p:cNvPicPr>
          <p:nvPr userDrawn="1">
            <p:custDataLst>
              <p:tags r:id="rId32"/>
            </p:custDataLst>
          </p:nvPr>
        </p:nvPicPr>
        <p:blipFill>
          <a:blip r:embed="rId111">
            <a:extLs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2597736" y="9577054"/>
            <a:ext cx="762000" cy="762000"/>
          </a:xfrm>
          <a:prstGeom prst="rect">
            <a:avLst/>
          </a:prstGeom>
        </p:spPr>
      </p:pic>
      <p:grpSp>
        <p:nvGrpSpPr>
          <p:cNvPr id="157" name="StatusGaugeBlue" hidden="1">
            <a:extLst>
              <a:ext uri="{FF2B5EF4-FFF2-40B4-BE49-F238E27FC236}">
                <a16:creationId xmlns:a16="http://schemas.microsoft.com/office/drawing/2014/main" id="{6CCE020B-8B5E-44D6-A050-6128816AFE20}"/>
              </a:ext>
            </a:extLst>
          </p:cNvPr>
          <p:cNvGrpSpPr>
            <a:grpSpLocks noChangeAspect="1"/>
          </p:cNvGrpSpPr>
          <p:nvPr userDrawn="1">
            <p:custDataLst>
              <p:tags r:id="rId33"/>
            </p:custDataLst>
          </p:nvPr>
        </p:nvGrpSpPr>
        <p:grpSpPr>
          <a:xfrm>
            <a:off x="4745738" y="4802996"/>
            <a:ext cx="792456" cy="792456"/>
            <a:chOff x="1016000" y="1016000"/>
            <a:chExt cx="396228" cy="396228"/>
          </a:xfrm>
        </p:grpSpPr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CC2CEE93-E4BA-4B0D-939F-530702BD8D2B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60" name="Graphic 159">
              <a:extLst>
                <a:ext uri="{FF2B5EF4-FFF2-40B4-BE49-F238E27FC236}">
                  <a16:creationId xmlns:a16="http://schemas.microsoft.com/office/drawing/2014/main" id="{235E9402-F8BC-43A7-BA0B-4DD7038AC3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3">
              <a:extLst>
                <a:ext uri="{96DAC541-7B7A-43D3-8B79-37D633B846F1}">
                  <asvg:svgBlip xmlns:asvg="http://schemas.microsoft.com/office/drawing/2016/SVG/main" r:embed="rId11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61" name="CheckmarkBlue" hidden="1">
            <a:extLst>
              <a:ext uri="{FF2B5EF4-FFF2-40B4-BE49-F238E27FC236}">
                <a16:creationId xmlns:a16="http://schemas.microsoft.com/office/drawing/2014/main" id="{BB2BB8C1-E116-4225-8D28-12FC2788E3A5}"/>
              </a:ext>
            </a:extLst>
          </p:cNvPr>
          <p:cNvGrpSpPr>
            <a:grpSpLocks noChangeAspect="1"/>
          </p:cNvGrpSpPr>
          <p:nvPr userDrawn="1">
            <p:custDataLst>
              <p:tags r:id="rId34"/>
            </p:custDataLst>
          </p:nvPr>
        </p:nvGrpSpPr>
        <p:grpSpPr>
          <a:xfrm>
            <a:off x="4745738" y="5878928"/>
            <a:ext cx="792456" cy="792456"/>
            <a:chOff x="1016000" y="1016000"/>
            <a:chExt cx="396228" cy="396228"/>
          </a:xfrm>
        </p:grpSpPr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08AFFE5E-693C-4672-8EE8-B40CD98AFBB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63" name="Graphic 162">
              <a:extLst>
                <a:ext uri="{FF2B5EF4-FFF2-40B4-BE49-F238E27FC236}">
                  <a16:creationId xmlns:a16="http://schemas.microsoft.com/office/drawing/2014/main" id="{BB0291F0-CF83-464C-AC32-16240EB997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5">
              <a:extLst>
                <a:ext uri="{96DAC541-7B7A-43D3-8B79-37D633B846F1}">
                  <asvg:svgBlip xmlns:asvg="http://schemas.microsoft.com/office/drawing/2016/SVG/main" r:embed="rId11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64" name="CheckmarkDashBlue" hidden="1">
            <a:extLst>
              <a:ext uri="{FF2B5EF4-FFF2-40B4-BE49-F238E27FC236}">
                <a16:creationId xmlns:a16="http://schemas.microsoft.com/office/drawing/2014/main" id="{09C4EDA8-7C87-49B6-AD7A-991E03164B6A}"/>
              </a:ext>
            </a:extLst>
          </p:cNvPr>
          <p:cNvGrpSpPr>
            <a:grpSpLocks noChangeAspect="1"/>
          </p:cNvGrpSpPr>
          <p:nvPr userDrawn="1">
            <p:custDataLst>
              <p:tags r:id="rId35"/>
            </p:custDataLst>
          </p:nvPr>
        </p:nvGrpSpPr>
        <p:grpSpPr>
          <a:xfrm>
            <a:off x="4745738" y="7148928"/>
            <a:ext cx="792456" cy="792456"/>
            <a:chOff x="1016000" y="1016000"/>
            <a:chExt cx="396228" cy="396228"/>
          </a:xfrm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2B474644-0820-4755-A155-4791A29A30E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66" name="Graphic 165">
              <a:extLst>
                <a:ext uri="{FF2B5EF4-FFF2-40B4-BE49-F238E27FC236}">
                  <a16:creationId xmlns:a16="http://schemas.microsoft.com/office/drawing/2014/main" id="{3941391A-F870-4CEB-A334-834881A65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7">
              <a:extLst>
                <a:ext uri="{96DAC541-7B7A-43D3-8B79-37D633B846F1}">
                  <asvg:svgBlip xmlns:asvg="http://schemas.microsoft.com/office/drawing/2016/SVG/main" r:embed="rId11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67" name="XBlue" hidden="1">
            <a:extLst>
              <a:ext uri="{FF2B5EF4-FFF2-40B4-BE49-F238E27FC236}">
                <a16:creationId xmlns:a16="http://schemas.microsoft.com/office/drawing/2014/main" id="{3EA97EA5-84CC-4359-A8C6-69B5F03D592B}"/>
              </a:ext>
            </a:extLst>
          </p:cNvPr>
          <p:cNvGrpSpPr>
            <a:grpSpLocks noChangeAspect="1"/>
          </p:cNvGrpSpPr>
          <p:nvPr userDrawn="1">
            <p:custDataLst>
              <p:tags r:id="rId36"/>
            </p:custDataLst>
          </p:nvPr>
        </p:nvGrpSpPr>
        <p:grpSpPr>
          <a:xfrm>
            <a:off x="4745738" y="8372120"/>
            <a:ext cx="792456" cy="792456"/>
            <a:chOff x="1016000" y="1016000"/>
            <a:chExt cx="396228" cy="396228"/>
          </a:xfrm>
        </p:grpSpPr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A96B38C2-7E4B-475E-B9E7-4406B02B054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79" name="Graphic 178">
              <a:extLst>
                <a:ext uri="{FF2B5EF4-FFF2-40B4-BE49-F238E27FC236}">
                  <a16:creationId xmlns:a16="http://schemas.microsoft.com/office/drawing/2014/main" id="{9C228B99-26A2-45EC-99C2-1DF8988C7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9">
              <a:extLst>
                <a:ext uri="{96DAC541-7B7A-43D3-8B79-37D633B846F1}">
                  <asvg:svgBlip xmlns:asvg="http://schemas.microsoft.com/office/drawing/2016/SVG/main" r:embed="rId12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80" name="FilterBlue" hidden="1">
            <a:extLst>
              <a:ext uri="{FF2B5EF4-FFF2-40B4-BE49-F238E27FC236}">
                <a16:creationId xmlns:a16="http://schemas.microsoft.com/office/drawing/2014/main" id="{65811D8B-ABCE-457A-8462-334DD65C362F}"/>
              </a:ext>
            </a:extLst>
          </p:cNvPr>
          <p:cNvGrpSpPr>
            <a:grpSpLocks noChangeAspect="1"/>
          </p:cNvGrpSpPr>
          <p:nvPr userDrawn="1">
            <p:custDataLst>
              <p:tags r:id="rId37"/>
            </p:custDataLst>
          </p:nvPr>
        </p:nvGrpSpPr>
        <p:grpSpPr>
          <a:xfrm>
            <a:off x="4745738" y="9561826"/>
            <a:ext cx="792456" cy="792456"/>
            <a:chOff x="1016000" y="1016000"/>
            <a:chExt cx="396228" cy="396228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CAD43883-1236-4EFD-881B-BCD9140AF2B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82" name="Graphic 181">
              <a:extLst>
                <a:ext uri="{FF2B5EF4-FFF2-40B4-BE49-F238E27FC236}">
                  <a16:creationId xmlns:a16="http://schemas.microsoft.com/office/drawing/2014/main" id="{1FFED3BB-E04F-45B2-A269-F0A780547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1">
              <a:extLst>
                <a:ext uri="{96DAC541-7B7A-43D3-8B79-37D633B846F1}">
                  <asvg:svgBlip xmlns:asvg="http://schemas.microsoft.com/office/drawing/2016/SVG/main" r:embed="rId12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183" name="Chevron" hidden="1">
            <a:extLst>
              <a:ext uri="{FF2B5EF4-FFF2-40B4-BE49-F238E27FC236}">
                <a16:creationId xmlns:a16="http://schemas.microsoft.com/office/drawing/2014/main" id="{1AAD642C-6DBA-46A9-AC45-8BDF7E6BBFCA}"/>
              </a:ext>
            </a:extLst>
          </p:cNvPr>
          <p:cNvPicPr>
            <a:picLocks noChangeAspect="1"/>
          </p:cNvPicPr>
          <p:nvPr userDrawn="1">
            <p:custDataLst>
              <p:tags r:id="rId38"/>
            </p:custDataLst>
          </p:nvPr>
        </p:nvPicPr>
        <p:blipFill>
          <a:blip r:embed="rId123">
            <a:extLst>
              <a:ext uri="{96DAC541-7B7A-43D3-8B79-37D633B846F1}">
                <asvg:svgBlip xmlns:asvg="http://schemas.microsoft.com/office/drawing/2016/SVG/main" r:embed="rId124"/>
              </a:ext>
            </a:extLst>
          </a:blip>
          <a:stretch>
            <a:fillRect/>
          </a:stretch>
        </p:blipFill>
        <p:spPr>
          <a:xfrm>
            <a:off x="6233274" y="4818224"/>
            <a:ext cx="762000" cy="762000"/>
          </a:xfrm>
          <a:prstGeom prst="rect">
            <a:avLst/>
          </a:prstGeom>
        </p:spPr>
      </p:pic>
      <p:pic>
        <p:nvPicPr>
          <p:cNvPr id="184" name="LineArrow" hidden="1">
            <a:extLst>
              <a:ext uri="{FF2B5EF4-FFF2-40B4-BE49-F238E27FC236}">
                <a16:creationId xmlns:a16="http://schemas.microsoft.com/office/drawing/2014/main" id="{B5B36EDB-0105-40F7-8E79-8B18F2F31A79}"/>
              </a:ext>
            </a:extLst>
          </p:cNvPr>
          <p:cNvPicPr>
            <a:picLocks noChangeAspect="1"/>
          </p:cNvPicPr>
          <p:nvPr userDrawn="1">
            <p:custDataLst>
              <p:tags r:id="rId39"/>
            </p:custDataLst>
          </p:nvPr>
        </p:nvPicPr>
        <p:blipFill>
          <a:blip r:embed="rId125">
            <a:extLst>
              <a:ext uri="{96DAC541-7B7A-43D3-8B79-37D633B846F1}">
                <asvg:svgBlip xmlns:asvg="http://schemas.microsoft.com/office/drawing/2016/SVG/main" r:embed="rId126"/>
              </a:ext>
            </a:extLst>
          </a:blip>
          <a:stretch>
            <a:fillRect/>
          </a:stretch>
        </p:blipFill>
        <p:spPr>
          <a:xfrm>
            <a:off x="6233274" y="5991190"/>
            <a:ext cx="762000" cy="762000"/>
          </a:xfrm>
          <a:prstGeom prst="rect">
            <a:avLst/>
          </a:prstGeom>
        </p:spPr>
      </p:pic>
      <p:pic>
        <p:nvPicPr>
          <p:cNvPr id="185" name="DoubleArrow" hidden="1">
            <a:extLst>
              <a:ext uri="{FF2B5EF4-FFF2-40B4-BE49-F238E27FC236}">
                <a16:creationId xmlns:a16="http://schemas.microsoft.com/office/drawing/2014/main" id="{F4CF51C4-7DBC-4DC1-96CF-AE25062589D1}"/>
              </a:ext>
            </a:extLst>
          </p:cNvPr>
          <p:cNvPicPr>
            <a:picLocks noChangeAspect="1"/>
          </p:cNvPicPr>
          <p:nvPr userDrawn="1">
            <p:custDataLst>
              <p:tags r:id="rId40"/>
            </p:custDataLst>
          </p:nvPr>
        </p:nvPicPr>
        <p:blipFill>
          <a:blip r:embed="rId127">
            <a:extLst>
              <a:ext uri="{96DAC541-7B7A-43D3-8B79-37D633B846F1}">
                <asvg:svgBlip xmlns:asvg="http://schemas.microsoft.com/office/drawing/2016/SVG/main" r:embed="rId128"/>
              </a:ext>
            </a:extLst>
          </a:blip>
          <a:stretch>
            <a:fillRect/>
          </a:stretch>
        </p:blipFill>
        <p:spPr>
          <a:xfrm>
            <a:off x="6233274" y="7164156"/>
            <a:ext cx="762000" cy="762000"/>
          </a:xfrm>
          <a:prstGeom prst="rect">
            <a:avLst/>
          </a:prstGeom>
        </p:spPr>
      </p:pic>
      <p:grpSp>
        <p:nvGrpSpPr>
          <p:cNvPr id="187" name="ChevronWhite" hidden="1">
            <a:extLst>
              <a:ext uri="{FF2B5EF4-FFF2-40B4-BE49-F238E27FC236}">
                <a16:creationId xmlns:a16="http://schemas.microsoft.com/office/drawing/2014/main" id="{53FF8683-C689-492F-915B-7F72FDF2024D}"/>
              </a:ext>
            </a:extLst>
          </p:cNvPr>
          <p:cNvGrpSpPr>
            <a:grpSpLocks noChangeAspect="1"/>
          </p:cNvGrpSpPr>
          <p:nvPr userDrawn="1">
            <p:custDataLst>
              <p:tags r:id="rId41"/>
            </p:custDataLst>
          </p:nvPr>
        </p:nvGrpSpPr>
        <p:grpSpPr>
          <a:xfrm>
            <a:off x="7485906" y="4802996"/>
            <a:ext cx="792456" cy="792456"/>
            <a:chOff x="1016000" y="1016000"/>
            <a:chExt cx="396228" cy="396228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00922BA7-E5E1-45C0-87B4-1FDFD0C022D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89" name="Graphic 188">
              <a:extLst>
                <a:ext uri="{FF2B5EF4-FFF2-40B4-BE49-F238E27FC236}">
                  <a16:creationId xmlns:a16="http://schemas.microsoft.com/office/drawing/2014/main" id="{0CCBAA2C-F102-4E34-9A7D-2EB052B80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3">
              <a:extLst>
                <a:ext uri="{96DAC541-7B7A-43D3-8B79-37D633B846F1}">
                  <asvg:svgBlip xmlns:asvg="http://schemas.microsoft.com/office/drawing/2016/SVG/main" r:embed="rId12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90" name="LineArrowWhite" hidden="1">
            <a:extLst>
              <a:ext uri="{FF2B5EF4-FFF2-40B4-BE49-F238E27FC236}">
                <a16:creationId xmlns:a16="http://schemas.microsoft.com/office/drawing/2014/main" id="{29305847-2615-4D42-92DC-186B0C81F9D0}"/>
              </a:ext>
            </a:extLst>
          </p:cNvPr>
          <p:cNvGrpSpPr>
            <a:grpSpLocks noChangeAspect="1"/>
          </p:cNvGrpSpPr>
          <p:nvPr userDrawn="1">
            <p:custDataLst>
              <p:tags r:id="rId42"/>
            </p:custDataLst>
          </p:nvPr>
        </p:nvGrpSpPr>
        <p:grpSpPr>
          <a:xfrm>
            <a:off x="7485906" y="5975962"/>
            <a:ext cx="792456" cy="792456"/>
            <a:chOff x="1016000" y="1016000"/>
            <a:chExt cx="396228" cy="396228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9981726C-FF4E-4B46-9782-4A07CC51A80D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92" name="Graphic 191">
              <a:extLst>
                <a:ext uri="{FF2B5EF4-FFF2-40B4-BE49-F238E27FC236}">
                  <a16:creationId xmlns:a16="http://schemas.microsoft.com/office/drawing/2014/main" id="{C5A80E3A-B6AC-4611-B03D-D196B254E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5">
              <a:extLst>
                <a:ext uri="{96DAC541-7B7A-43D3-8B79-37D633B846F1}">
                  <asvg:svgBlip xmlns:asvg="http://schemas.microsoft.com/office/drawing/2016/SVG/main" r:embed="rId12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93" name="DoubleArrowWhite" hidden="1">
            <a:extLst>
              <a:ext uri="{FF2B5EF4-FFF2-40B4-BE49-F238E27FC236}">
                <a16:creationId xmlns:a16="http://schemas.microsoft.com/office/drawing/2014/main" id="{BF713853-BD88-49F3-A0E3-D5823F68821C}"/>
              </a:ext>
            </a:extLst>
          </p:cNvPr>
          <p:cNvGrpSpPr>
            <a:grpSpLocks noChangeAspect="1"/>
          </p:cNvGrpSpPr>
          <p:nvPr userDrawn="1">
            <p:custDataLst>
              <p:tags r:id="rId43"/>
            </p:custDataLst>
          </p:nvPr>
        </p:nvGrpSpPr>
        <p:grpSpPr>
          <a:xfrm>
            <a:off x="7485906" y="7148928"/>
            <a:ext cx="792456" cy="792456"/>
            <a:chOff x="1016000" y="1016000"/>
            <a:chExt cx="396228" cy="396228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D7ABCB48-AE94-4DB4-98D2-33EE615B78E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195" name="Graphic 194">
              <a:extLst>
                <a:ext uri="{FF2B5EF4-FFF2-40B4-BE49-F238E27FC236}">
                  <a16:creationId xmlns:a16="http://schemas.microsoft.com/office/drawing/2014/main" id="{5BC2237B-E1A0-4553-B846-3A04824C1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7">
              <a:extLst>
                <a:ext uri="{96DAC541-7B7A-43D3-8B79-37D633B846F1}">
                  <asvg:svgBlip xmlns:asvg="http://schemas.microsoft.com/office/drawing/2016/SVG/main" r:embed="rId12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96" name="ChevronBlue" hidden="1">
            <a:extLst>
              <a:ext uri="{FF2B5EF4-FFF2-40B4-BE49-F238E27FC236}">
                <a16:creationId xmlns:a16="http://schemas.microsoft.com/office/drawing/2014/main" id="{A7C8585F-196D-4010-B19C-68695C3D19B8}"/>
              </a:ext>
            </a:extLst>
          </p:cNvPr>
          <p:cNvGrpSpPr>
            <a:grpSpLocks noChangeAspect="1"/>
          </p:cNvGrpSpPr>
          <p:nvPr userDrawn="1">
            <p:custDataLst>
              <p:tags r:id="rId44"/>
            </p:custDataLst>
          </p:nvPr>
        </p:nvGrpSpPr>
        <p:grpSpPr>
          <a:xfrm>
            <a:off x="8843352" y="4802996"/>
            <a:ext cx="792456" cy="792456"/>
            <a:chOff x="1016000" y="1016000"/>
            <a:chExt cx="396228" cy="396228"/>
          </a:xfrm>
        </p:grpSpPr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0092E20D-4CE8-4E85-9814-825F9AC9032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27" name="Graphic 226">
              <a:extLst>
                <a:ext uri="{FF2B5EF4-FFF2-40B4-BE49-F238E27FC236}">
                  <a16:creationId xmlns:a16="http://schemas.microsoft.com/office/drawing/2014/main" id="{80F0994F-530E-4C3B-BA1D-DC1CCACB2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9">
              <a:extLst>
                <a:ext uri="{96DAC541-7B7A-43D3-8B79-37D633B846F1}">
                  <asvg:svgBlip xmlns:asvg="http://schemas.microsoft.com/office/drawing/2016/SVG/main" r:embed="rId13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28" name="LineArrowBlue" hidden="1">
            <a:extLst>
              <a:ext uri="{FF2B5EF4-FFF2-40B4-BE49-F238E27FC236}">
                <a16:creationId xmlns:a16="http://schemas.microsoft.com/office/drawing/2014/main" id="{0F8392A5-C97E-4F73-B4DE-95570DC766CD}"/>
              </a:ext>
            </a:extLst>
          </p:cNvPr>
          <p:cNvGrpSpPr>
            <a:grpSpLocks noChangeAspect="1"/>
          </p:cNvGrpSpPr>
          <p:nvPr userDrawn="1">
            <p:custDataLst>
              <p:tags r:id="rId45"/>
            </p:custDataLst>
          </p:nvPr>
        </p:nvGrpSpPr>
        <p:grpSpPr>
          <a:xfrm>
            <a:off x="8843352" y="5975962"/>
            <a:ext cx="792456" cy="792456"/>
            <a:chOff x="1016000" y="1016000"/>
            <a:chExt cx="396228" cy="396228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01A216C-643F-4A20-AE6E-1E5C483F733D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30" name="Graphic 229">
              <a:extLst>
                <a:ext uri="{FF2B5EF4-FFF2-40B4-BE49-F238E27FC236}">
                  <a16:creationId xmlns:a16="http://schemas.microsoft.com/office/drawing/2014/main" id="{707A239C-C4E5-4535-B188-192C396CA7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1">
              <a:extLst>
                <a:ext uri="{96DAC541-7B7A-43D3-8B79-37D633B846F1}">
                  <asvg:svgBlip xmlns:asvg="http://schemas.microsoft.com/office/drawing/2016/SVG/main" r:embed="rId13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31" name="DoubleArrowBlue" hidden="1">
            <a:extLst>
              <a:ext uri="{FF2B5EF4-FFF2-40B4-BE49-F238E27FC236}">
                <a16:creationId xmlns:a16="http://schemas.microsoft.com/office/drawing/2014/main" id="{462016A1-1C65-422C-B6D4-BE75F7B1FDDC}"/>
              </a:ext>
            </a:extLst>
          </p:cNvPr>
          <p:cNvGrpSpPr>
            <a:grpSpLocks noChangeAspect="1"/>
          </p:cNvGrpSpPr>
          <p:nvPr userDrawn="1">
            <p:custDataLst>
              <p:tags r:id="rId46"/>
            </p:custDataLst>
          </p:nvPr>
        </p:nvGrpSpPr>
        <p:grpSpPr>
          <a:xfrm>
            <a:off x="8843352" y="7148928"/>
            <a:ext cx="792456" cy="792456"/>
            <a:chOff x="1016000" y="1016000"/>
            <a:chExt cx="396228" cy="396228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B86BE498-137E-4744-B3E2-F994FAA8B0A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33" name="Graphic 232">
              <a:extLst>
                <a:ext uri="{FF2B5EF4-FFF2-40B4-BE49-F238E27FC236}">
                  <a16:creationId xmlns:a16="http://schemas.microsoft.com/office/drawing/2014/main" id="{961D99DE-CDA1-4C11-A1E8-B764D6B14E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3">
              <a:extLst>
                <a:ext uri="{96DAC541-7B7A-43D3-8B79-37D633B846F1}">
                  <asvg:svgBlip xmlns:asvg="http://schemas.microsoft.com/office/drawing/2016/SVG/main" r:embed="rId1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234" name="QuestionMark" hidden="1">
            <a:extLst>
              <a:ext uri="{FF2B5EF4-FFF2-40B4-BE49-F238E27FC236}">
                <a16:creationId xmlns:a16="http://schemas.microsoft.com/office/drawing/2014/main" id="{B625EA2B-CB02-4497-ABC3-C3DC06F06418}"/>
              </a:ext>
            </a:extLst>
          </p:cNvPr>
          <p:cNvPicPr>
            <a:picLocks noChangeAspect="1"/>
          </p:cNvPicPr>
          <p:nvPr userDrawn="1">
            <p:custDataLst>
              <p:tags r:id="rId47"/>
            </p:custDataLst>
          </p:nvPr>
        </p:nvPicPr>
        <p:blipFill>
          <a:blip r:embed="rId135">
            <a:extLst>
              <a:ext uri="{96DAC541-7B7A-43D3-8B79-37D633B846F1}">
                <asvg:svgBlip xmlns:asvg="http://schemas.microsoft.com/office/drawing/2016/SVG/main" r:embed="rId136"/>
              </a:ext>
            </a:extLst>
          </a:blip>
          <a:stretch>
            <a:fillRect/>
          </a:stretch>
        </p:blipFill>
        <p:spPr>
          <a:xfrm>
            <a:off x="10467044" y="4818224"/>
            <a:ext cx="762000" cy="762000"/>
          </a:xfrm>
          <a:prstGeom prst="rect">
            <a:avLst/>
          </a:prstGeom>
        </p:spPr>
      </p:pic>
      <p:pic>
        <p:nvPicPr>
          <p:cNvPr id="235" name="Asterisk" hidden="1">
            <a:extLst>
              <a:ext uri="{FF2B5EF4-FFF2-40B4-BE49-F238E27FC236}">
                <a16:creationId xmlns:a16="http://schemas.microsoft.com/office/drawing/2014/main" id="{4D699C91-8285-4A1E-8971-DBE649151DFD}"/>
              </a:ext>
            </a:extLst>
          </p:cNvPr>
          <p:cNvPicPr>
            <a:picLocks noChangeAspect="1"/>
          </p:cNvPicPr>
          <p:nvPr userDrawn="1">
            <p:custDataLst>
              <p:tags r:id="rId48"/>
            </p:custDataLst>
          </p:nvPr>
        </p:nvPicPr>
        <p:blipFill>
          <a:blip r:embed="rId137">
            <a:extLst>
              <a:ext uri="{96DAC541-7B7A-43D3-8B79-37D633B846F1}">
                <asvg:svgBlip xmlns:asvg="http://schemas.microsoft.com/office/drawing/2016/SVG/main" r:embed="rId138"/>
              </a:ext>
            </a:extLst>
          </a:blip>
          <a:stretch>
            <a:fillRect/>
          </a:stretch>
        </p:blipFill>
        <p:spPr>
          <a:xfrm>
            <a:off x="10467044" y="6007932"/>
            <a:ext cx="762000" cy="762000"/>
          </a:xfrm>
          <a:prstGeom prst="rect">
            <a:avLst/>
          </a:prstGeom>
        </p:spPr>
      </p:pic>
      <p:pic>
        <p:nvPicPr>
          <p:cNvPr id="236" name="ExclamationMark" hidden="1">
            <a:extLst>
              <a:ext uri="{FF2B5EF4-FFF2-40B4-BE49-F238E27FC236}">
                <a16:creationId xmlns:a16="http://schemas.microsoft.com/office/drawing/2014/main" id="{0E59190C-792E-4DBF-BC7B-29D1F0B212D7}"/>
              </a:ext>
            </a:extLst>
          </p:cNvPr>
          <p:cNvPicPr>
            <a:picLocks noChangeAspect="1"/>
          </p:cNvPicPr>
          <p:nvPr userDrawn="1">
            <p:custDataLst>
              <p:tags r:id="rId49"/>
            </p:custDataLst>
          </p:nvPr>
        </p:nvPicPr>
        <p:blipFill>
          <a:blip r:embed="rId139">
            <a:extLst>
              <a:ext uri="{96DAC541-7B7A-43D3-8B79-37D633B846F1}">
                <asvg:svgBlip xmlns:asvg="http://schemas.microsoft.com/office/drawing/2016/SVG/main" r:embed="rId140"/>
              </a:ext>
            </a:extLst>
          </a:blip>
          <a:stretch>
            <a:fillRect/>
          </a:stretch>
        </p:blipFill>
        <p:spPr>
          <a:xfrm>
            <a:off x="10467044" y="7197640"/>
            <a:ext cx="762000" cy="762000"/>
          </a:xfrm>
          <a:prstGeom prst="rect">
            <a:avLst/>
          </a:prstGeom>
        </p:spPr>
      </p:pic>
      <p:pic>
        <p:nvPicPr>
          <p:cNvPr id="237" name="QuotationMarks" hidden="1">
            <a:extLst>
              <a:ext uri="{FF2B5EF4-FFF2-40B4-BE49-F238E27FC236}">
                <a16:creationId xmlns:a16="http://schemas.microsoft.com/office/drawing/2014/main" id="{436425E2-54E8-47B9-9868-C7932C328A44}"/>
              </a:ext>
            </a:extLst>
          </p:cNvPr>
          <p:cNvPicPr>
            <a:picLocks noChangeAspect="1"/>
          </p:cNvPicPr>
          <p:nvPr userDrawn="1">
            <p:custDataLst>
              <p:tags r:id="rId50"/>
            </p:custDataLst>
          </p:nvPr>
        </p:nvPicPr>
        <p:blipFill>
          <a:blip r:embed="rId141">
            <a:extLst>
              <a:ext uri="{96DAC541-7B7A-43D3-8B79-37D633B846F1}">
                <asvg:svgBlip xmlns:asvg="http://schemas.microsoft.com/office/drawing/2016/SVG/main" r:embed="rId142"/>
              </a:ext>
            </a:extLst>
          </a:blip>
          <a:stretch>
            <a:fillRect/>
          </a:stretch>
        </p:blipFill>
        <p:spPr>
          <a:xfrm>
            <a:off x="10467044" y="8387348"/>
            <a:ext cx="762000" cy="762000"/>
          </a:xfrm>
          <a:prstGeom prst="rect">
            <a:avLst/>
          </a:prstGeom>
        </p:spPr>
      </p:pic>
      <p:grpSp>
        <p:nvGrpSpPr>
          <p:cNvPr id="238" name="QuestionMarkWhite" hidden="1">
            <a:extLst>
              <a:ext uri="{FF2B5EF4-FFF2-40B4-BE49-F238E27FC236}">
                <a16:creationId xmlns:a16="http://schemas.microsoft.com/office/drawing/2014/main" id="{D4CA9B5F-579C-4144-A775-3471ED4BC924}"/>
              </a:ext>
            </a:extLst>
          </p:cNvPr>
          <p:cNvGrpSpPr>
            <a:grpSpLocks noChangeAspect="1"/>
          </p:cNvGrpSpPr>
          <p:nvPr userDrawn="1">
            <p:custDataLst>
              <p:tags r:id="rId51"/>
            </p:custDataLst>
          </p:nvPr>
        </p:nvGrpSpPr>
        <p:grpSpPr>
          <a:xfrm>
            <a:off x="11734904" y="4802996"/>
            <a:ext cx="792456" cy="792456"/>
            <a:chOff x="1016000" y="1016000"/>
            <a:chExt cx="396228" cy="396228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AD6085ED-FF76-4BB4-909B-52861FDCE3A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40" name="Graphic 239">
              <a:extLst>
                <a:ext uri="{FF2B5EF4-FFF2-40B4-BE49-F238E27FC236}">
                  <a16:creationId xmlns:a16="http://schemas.microsoft.com/office/drawing/2014/main" id="{E25ED66F-C169-47FA-96FD-E5CE1A4A7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5">
              <a:extLst>
                <a:ext uri="{96DAC541-7B7A-43D3-8B79-37D633B846F1}">
                  <asvg:svgBlip xmlns:asvg="http://schemas.microsoft.com/office/drawing/2016/SVG/main" r:embed="rId13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41" name="AsteriskWhite" hidden="1">
            <a:extLst>
              <a:ext uri="{FF2B5EF4-FFF2-40B4-BE49-F238E27FC236}">
                <a16:creationId xmlns:a16="http://schemas.microsoft.com/office/drawing/2014/main" id="{B6D11772-2D1D-44C9-9716-1FB894434094}"/>
              </a:ext>
            </a:extLst>
          </p:cNvPr>
          <p:cNvGrpSpPr>
            <a:grpSpLocks noChangeAspect="1"/>
          </p:cNvGrpSpPr>
          <p:nvPr userDrawn="1">
            <p:custDataLst>
              <p:tags r:id="rId52"/>
            </p:custDataLst>
          </p:nvPr>
        </p:nvGrpSpPr>
        <p:grpSpPr>
          <a:xfrm>
            <a:off x="11734904" y="5992704"/>
            <a:ext cx="792456" cy="792456"/>
            <a:chOff x="1016000" y="1016000"/>
            <a:chExt cx="396228" cy="396228"/>
          </a:xfrm>
        </p:grpSpPr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5A17B51C-E01C-4A84-A53D-4479F0A2331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43" name="Graphic 242">
              <a:extLst>
                <a:ext uri="{FF2B5EF4-FFF2-40B4-BE49-F238E27FC236}">
                  <a16:creationId xmlns:a16="http://schemas.microsoft.com/office/drawing/2014/main" id="{69D2F5B4-87B9-437B-B0B4-993611E60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7">
              <a:extLst>
                <a:ext uri="{96DAC541-7B7A-43D3-8B79-37D633B846F1}">
                  <asvg:svgBlip xmlns:asvg="http://schemas.microsoft.com/office/drawing/2016/SVG/main" r:embed="rId13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44" name="ExclamationMarkWhite" hidden="1">
            <a:extLst>
              <a:ext uri="{FF2B5EF4-FFF2-40B4-BE49-F238E27FC236}">
                <a16:creationId xmlns:a16="http://schemas.microsoft.com/office/drawing/2014/main" id="{C6006A7D-72E9-46B9-A86E-3A3A35376BAD}"/>
              </a:ext>
            </a:extLst>
          </p:cNvPr>
          <p:cNvGrpSpPr>
            <a:grpSpLocks noChangeAspect="1"/>
          </p:cNvGrpSpPr>
          <p:nvPr userDrawn="1">
            <p:custDataLst>
              <p:tags r:id="rId53"/>
            </p:custDataLst>
          </p:nvPr>
        </p:nvGrpSpPr>
        <p:grpSpPr>
          <a:xfrm>
            <a:off x="11734904" y="7182412"/>
            <a:ext cx="792456" cy="792456"/>
            <a:chOff x="1016000" y="1016000"/>
            <a:chExt cx="396228" cy="396228"/>
          </a:xfrm>
        </p:grpSpPr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BD33A8BC-08FC-4FE7-B2CC-37F2719BC23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46" name="Graphic 245">
              <a:extLst>
                <a:ext uri="{FF2B5EF4-FFF2-40B4-BE49-F238E27FC236}">
                  <a16:creationId xmlns:a16="http://schemas.microsoft.com/office/drawing/2014/main" id="{2C6EAE52-CEE6-4365-8002-3C8D76BE3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9">
              <a:extLst>
                <a:ext uri="{96DAC541-7B7A-43D3-8B79-37D633B846F1}">
                  <asvg:svgBlip xmlns:asvg="http://schemas.microsoft.com/office/drawing/2016/SVG/main" r:embed="rId14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47" name="QuotationMarksWhite" hidden="1">
            <a:extLst>
              <a:ext uri="{FF2B5EF4-FFF2-40B4-BE49-F238E27FC236}">
                <a16:creationId xmlns:a16="http://schemas.microsoft.com/office/drawing/2014/main" id="{ACE2594F-9969-408A-BACC-7C319CE19E22}"/>
              </a:ext>
            </a:extLst>
          </p:cNvPr>
          <p:cNvGrpSpPr>
            <a:grpSpLocks noChangeAspect="1"/>
          </p:cNvGrpSpPr>
          <p:nvPr userDrawn="1">
            <p:custDataLst>
              <p:tags r:id="rId54"/>
            </p:custDataLst>
          </p:nvPr>
        </p:nvGrpSpPr>
        <p:grpSpPr>
          <a:xfrm>
            <a:off x="11734904" y="8372120"/>
            <a:ext cx="792456" cy="792456"/>
            <a:chOff x="1016000" y="1016000"/>
            <a:chExt cx="396228" cy="396228"/>
          </a:xfrm>
        </p:grpSpPr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9EE0763B-80E5-4E78-8369-8FF59C44E71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49" name="Graphic 248">
              <a:extLst>
                <a:ext uri="{FF2B5EF4-FFF2-40B4-BE49-F238E27FC236}">
                  <a16:creationId xmlns:a16="http://schemas.microsoft.com/office/drawing/2014/main" id="{2D4B5123-7ACA-45F4-9C60-1EC701A86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1">
              <a:extLst>
                <a:ext uri="{96DAC541-7B7A-43D3-8B79-37D633B846F1}">
                  <asvg:svgBlip xmlns:asvg="http://schemas.microsoft.com/office/drawing/2016/SVG/main" r:embed="rId14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50" name="QuestionMarkBlue" hidden="1">
            <a:extLst>
              <a:ext uri="{FF2B5EF4-FFF2-40B4-BE49-F238E27FC236}">
                <a16:creationId xmlns:a16="http://schemas.microsoft.com/office/drawing/2014/main" id="{5AF21AD1-BEE8-4582-A759-6698D706FB13}"/>
              </a:ext>
            </a:extLst>
          </p:cNvPr>
          <p:cNvGrpSpPr>
            <a:grpSpLocks noChangeAspect="1"/>
          </p:cNvGrpSpPr>
          <p:nvPr userDrawn="1">
            <p:custDataLst>
              <p:tags r:id="rId55"/>
            </p:custDataLst>
          </p:nvPr>
        </p:nvGrpSpPr>
        <p:grpSpPr>
          <a:xfrm>
            <a:off x="12803370" y="4802996"/>
            <a:ext cx="792456" cy="792456"/>
            <a:chOff x="1016000" y="1016000"/>
            <a:chExt cx="396228" cy="396228"/>
          </a:xfrm>
        </p:grpSpPr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7D2CC83C-902C-4178-91E2-2ED2B961146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52" name="Graphic 251">
              <a:extLst>
                <a:ext uri="{FF2B5EF4-FFF2-40B4-BE49-F238E27FC236}">
                  <a16:creationId xmlns:a16="http://schemas.microsoft.com/office/drawing/2014/main" id="{EDFBD8C5-374B-4C2A-A9F4-F03AD4DA7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3">
              <a:extLst>
                <a:ext uri="{96DAC541-7B7A-43D3-8B79-37D633B846F1}">
                  <asvg:svgBlip xmlns:asvg="http://schemas.microsoft.com/office/drawing/2016/SVG/main" r:embed="rId14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53" name="AsteriskBlue" hidden="1">
            <a:extLst>
              <a:ext uri="{FF2B5EF4-FFF2-40B4-BE49-F238E27FC236}">
                <a16:creationId xmlns:a16="http://schemas.microsoft.com/office/drawing/2014/main" id="{2ED3B8E8-5B23-44F0-9FF8-85A9BCD7ECDA}"/>
              </a:ext>
            </a:extLst>
          </p:cNvPr>
          <p:cNvGrpSpPr>
            <a:grpSpLocks noChangeAspect="1"/>
          </p:cNvGrpSpPr>
          <p:nvPr userDrawn="1">
            <p:custDataLst>
              <p:tags r:id="rId56"/>
            </p:custDataLst>
          </p:nvPr>
        </p:nvGrpSpPr>
        <p:grpSpPr>
          <a:xfrm>
            <a:off x="12803370" y="5992704"/>
            <a:ext cx="792456" cy="792456"/>
            <a:chOff x="1016000" y="1016000"/>
            <a:chExt cx="396228" cy="396228"/>
          </a:xfrm>
        </p:grpSpPr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1CF734D3-1711-44E2-A899-4A0A5E34CFB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55" name="Graphic 254">
              <a:extLst>
                <a:ext uri="{FF2B5EF4-FFF2-40B4-BE49-F238E27FC236}">
                  <a16:creationId xmlns:a16="http://schemas.microsoft.com/office/drawing/2014/main" id="{0A1882B2-9D31-483D-A0E8-0548022D5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5">
              <a:extLst>
                <a:ext uri="{96DAC541-7B7A-43D3-8B79-37D633B846F1}">
                  <asvg:svgBlip xmlns:asvg="http://schemas.microsoft.com/office/drawing/2016/SVG/main" r:embed="rId14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56" name="ExclamationMarkBlue" hidden="1">
            <a:extLst>
              <a:ext uri="{FF2B5EF4-FFF2-40B4-BE49-F238E27FC236}">
                <a16:creationId xmlns:a16="http://schemas.microsoft.com/office/drawing/2014/main" id="{B6A2C7D1-B707-472D-83BF-8A86B8B50074}"/>
              </a:ext>
            </a:extLst>
          </p:cNvPr>
          <p:cNvGrpSpPr>
            <a:grpSpLocks noChangeAspect="1"/>
          </p:cNvGrpSpPr>
          <p:nvPr userDrawn="1">
            <p:custDataLst>
              <p:tags r:id="rId57"/>
            </p:custDataLst>
          </p:nvPr>
        </p:nvGrpSpPr>
        <p:grpSpPr>
          <a:xfrm>
            <a:off x="12803370" y="7182412"/>
            <a:ext cx="792456" cy="792456"/>
            <a:chOff x="1016000" y="1016000"/>
            <a:chExt cx="396228" cy="396228"/>
          </a:xfrm>
        </p:grpSpPr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C69DCD77-21D2-4343-AF81-9DAE2B434CC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58" name="Graphic 257">
              <a:extLst>
                <a:ext uri="{FF2B5EF4-FFF2-40B4-BE49-F238E27FC236}">
                  <a16:creationId xmlns:a16="http://schemas.microsoft.com/office/drawing/2014/main" id="{43C8E124-0467-4CB3-982E-376BB7D93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7">
              <a:extLst>
                <a:ext uri="{96DAC541-7B7A-43D3-8B79-37D633B846F1}">
                  <asvg:svgBlip xmlns:asvg="http://schemas.microsoft.com/office/drawing/2016/SVG/main" r:embed="rId14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59" name="QuotationMarksBlue" hidden="1">
            <a:extLst>
              <a:ext uri="{FF2B5EF4-FFF2-40B4-BE49-F238E27FC236}">
                <a16:creationId xmlns:a16="http://schemas.microsoft.com/office/drawing/2014/main" id="{60608EAF-B4A3-49CC-A803-DEE1821F023B}"/>
              </a:ext>
            </a:extLst>
          </p:cNvPr>
          <p:cNvGrpSpPr>
            <a:grpSpLocks noChangeAspect="1"/>
          </p:cNvGrpSpPr>
          <p:nvPr userDrawn="1">
            <p:custDataLst>
              <p:tags r:id="rId58"/>
            </p:custDataLst>
          </p:nvPr>
        </p:nvGrpSpPr>
        <p:grpSpPr>
          <a:xfrm>
            <a:off x="12803370" y="8372120"/>
            <a:ext cx="792456" cy="792456"/>
            <a:chOff x="1016000" y="1016000"/>
            <a:chExt cx="396228" cy="396228"/>
          </a:xfrm>
        </p:grpSpPr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9A457200-193C-4C07-8899-9450ECF7E00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61" name="Graphic 260">
              <a:extLst>
                <a:ext uri="{FF2B5EF4-FFF2-40B4-BE49-F238E27FC236}">
                  <a16:creationId xmlns:a16="http://schemas.microsoft.com/office/drawing/2014/main" id="{8584FD0E-F76C-4596-9DA0-46ED47633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9">
              <a:extLst>
                <a:ext uri="{96DAC541-7B7A-43D3-8B79-37D633B846F1}">
                  <asvg:svgBlip xmlns:asvg="http://schemas.microsoft.com/office/drawing/2016/SVG/main" r:embed="rId15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262" name="PlusSign" hidden="1">
            <a:extLst>
              <a:ext uri="{FF2B5EF4-FFF2-40B4-BE49-F238E27FC236}">
                <a16:creationId xmlns:a16="http://schemas.microsoft.com/office/drawing/2014/main" id="{6118963F-82C1-4F8C-9EF3-AE23908F00CC}"/>
              </a:ext>
            </a:extLst>
          </p:cNvPr>
          <p:cNvPicPr>
            <a:picLocks noChangeAspect="1"/>
          </p:cNvPicPr>
          <p:nvPr userDrawn="1">
            <p:custDataLst>
              <p:tags r:id="rId59"/>
            </p:custDataLst>
          </p:nvPr>
        </p:nvPicPr>
        <p:blipFill>
          <a:blip r:embed="rId151">
            <a:extLst>
              <a:ext uri="{96DAC541-7B7A-43D3-8B79-37D633B846F1}">
                <asvg:svgBlip xmlns:asvg="http://schemas.microsoft.com/office/drawing/2016/SVG/main" r:embed="rId152"/>
              </a:ext>
            </a:extLst>
          </a:blip>
          <a:stretch>
            <a:fillRect/>
          </a:stretch>
        </p:blipFill>
        <p:spPr>
          <a:xfrm>
            <a:off x="14345806" y="4818224"/>
            <a:ext cx="762000" cy="762000"/>
          </a:xfrm>
          <a:prstGeom prst="rect">
            <a:avLst/>
          </a:prstGeom>
        </p:spPr>
      </p:pic>
      <p:pic>
        <p:nvPicPr>
          <p:cNvPr id="263" name="X" hidden="1">
            <a:extLst>
              <a:ext uri="{FF2B5EF4-FFF2-40B4-BE49-F238E27FC236}">
                <a16:creationId xmlns:a16="http://schemas.microsoft.com/office/drawing/2014/main" id="{E7DACAA9-6F17-44B2-8760-6F76C26BDCE0}"/>
              </a:ext>
            </a:extLst>
          </p:cNvPr>
          <p:cNvPicPr>
            <a:picLocks noChangeAspect="1"/>
          </p:cNvPicPr>
          <p:nvPr userDrawn="1">
            <p:custDataLst>
              <p:tags r:id="rId60"/>
            </p:custDataLst>
          </p:nvPr>
        </p:nvPicPr>
        <p:blipFill>
          <a:blip r:embed="rId109">
            <a:extLs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14345806" y="6007932"/>
            <a:ext cx="762000" cy="762000"/>
          </a:xfrm>
          <a:prstGeom prst="rect">
            <a:avLst/>
          </a:prstGeom>
        </p:spPr>
      </p:pic>
      <p:pic>
        <p:nvPicPr>
          <p:cNvPr id="264" name="DivisionSign" hidden="1">
            <a:extLst>
              <a:ext uri="{FF2B5EF4-FFF2-40B4-BE49-F238E27FC236}">
                <a16:creationId xmlns:a16="http://schemas.microsoft.com/office/drawing/2014/main" id="{FE00E234-4B28-4539-9574-E6CAB0AC097C}"/>
              </a:ext>
            </a:extLst>
          </p:cNvPr>
          <p:cNvPicPr>
            <a:picLocks noChangeAspect="1"/>
          </p:cNvPicPr>
          <p:nvPr userDrawn="1">
            <p:custDataLst>
              <p:tags r:id="rId61"/>
            </p:custDataLst>
          </p:nvPr>
        </p:nvPicPr>
        <p:blipFill>
          <a:blip r:embed="rId153">
            <a:extLst>
              <a:ext uri="{96DAC541-7B7A-43D3-8B79-37D633B846F1}">
                <asvg:svgBlip xmlns:asvg="http://schemas.microsoft.com/office/drawing/2016/SVG/main" r:embed="rId154"/>
              </a:ext>
            </a:extLst>
          </a:blip>
          <a:stretch>
            <a:fillRect/>
          </a:stretch>
        </p:blipFill>
        <p:spPr>
          <a:xfrm>
            <a:off x="14345806" y="7197640"/>
            <a:ext cx="762000" cy="762000"/>
          </a:xfrm>
          <a:prstGeom prst="rect">
            <a:avLst/>
          </a:prstGeom>
        </p:spPr>
      </p:pic>
      <p:pic>
        <p:nvPicPr>
          <p:cNvPr id="265" name="EqualSign" hidden="1">
            <a:extLst>
              <a:ext uri="{FF2B5EF4-FFF2-40B4-BE49-F238E27FC236}">
                <a16:creationId xmlns:a16="http://schemas.microsoft.com/office/drawing/2014/main" id="{69CF0202-F420-434E-B93B-60B8B5B7DBF4}"/>
              </a:ext>
            </a:extLst>
          </p:cNvPr>
          <p:cNvPicPr>
            <a:picLocks noChangeAspect="1"/>
          </p:cNvPicPr>
          <p:nvPr userDrawn="1">
            <p:custDataLst>
              <p:tags r:id="rId62"/>
            </p:custDataLst>
          </p:nvPr>
        </p:nvPicPr>
        <p:blipFill>
          <a:blip r:embed="rId155">
            <a:extLst>
              <a:ext uri="{96DAC541-7B7A-43D3-8B79-37D633B846F1}">
                <asvg:svgBlip xmlns:asvg="http://schemas.microsoft.com/office/drawing/2016/SVG/main" r:embed="rId156"/>
              </a:ext>
            </a:extLst>
          </a:blip>
          <a:stretch>
            <a:fillRect/>
          </a:stretch>
        </p:blipFill>
        <p:spPr>
          <a:xfrm>
            <a:off x="14345806" y="8387348"/>
            <a:ext cx="762000" cy="762000"/>
          </a:xfrm>
          <a:prstGeom prst="rect">
            <a:avLst/>
          </a:prstGeom>
        </p:spPr>
      </p:pic>
      <p:pic>
        <p:nvPicPr>
          <p:cNvPr id="266" name="MinusSign" hidden="1">
            <a:extLst>
              <a:ext uri="{FF2B5EF4-FFF2-40B4-BE49-F238E27FC236}">
                <a16:creationId xmlns:a16="http://schemas.microsoft.com/office/drawing/2014/main" id="{C020D14F-5EBA-479D-9661-48408182D438}"/>
              </a:ext>
            </a:extLst>
          </p:cNvPr>
          <p:cNvPicPr>
            <a:picLocks noChangeAspect="1"/>
          </p:cNvPicPr>
          <p:nvPr userDrawn="1">
            <p:custDataLst>
              <p:tags r:id="rId63"/>
            </p:custDataLst>
          </p:nvPr>
        </p:nvPicPr>
        <p:blipFill>
          <a:blip r:embed="rId157">
            <a:extLst>
              <a:ext uri="{96DAC541-7B7A-43D3-8B79-37D633B846F1}">
                <asvg:svgBlip xmlns:asvg="http://schemas.microsoft.com/office/drawing/2016/SVG/main" r:embed="rId158"/>
              </a:ext>
            </a:extLst>
          </a:blip>
          <a:stretch>
            <a:fillRect/>
          </a:stretch>
        </p:blipFill>
        <p:spPr>
          <a:xfrm>
            <a:off x="14345806" y="9577054"/>
            <a:ext cx="762000" cy="762000"/>
          </a:xfrm>
          <a:prstGeom prst="rect">
            <a:avLst/>
          </a:prstGeom>
        </p:spPr>
      </p:pic>
      <p:grpSp>
        <p:nvGrpSpPr>
          <p:cNvPr id="267" name="PlusSignWhite" hidden="1">
            <a:extLst>
              <a:ext uri="{FF2B5EF4-FFF2-40B4-BE49-F238E27FC236}">
                <a16:creationId xmlns:a16="http://schemas.microsoft.com/office/drawing/2014/main" id="{167024BA-2964-4C66-8E57-961615EDA132}"/>
              </a:ext>
            </a:extLst>
          </p:cNvPr>
          <p:cNvGrpSpPr>
            <a:grpSpLocks noChangeAspect="1"/>
          </p:cNvGrpSpPr>
          <p:nvPr userDrawn="1">
            <p:custDataLst>
              <p:tags r:id="rId64"/>
            </p:custDataLst>
          </p:nvPr>
        </p:nvGrpSpPr>
        <p:grpSpPr>
          <a:xfrm>
            <a:off x="15573994" y="4802996"/>
            <a:ext cx="792456" cy="792456"/>
            <a:chOff x="1016000" y="1016000"/>
            <a:chExt cx="396228" cy="396228"/>
          </a:xfrm>
        </p:grpSpPr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189C592C-9C34-4A10-8CE2-16EEF4E239F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142790BA-508E-447E-B3D9-E8EF79297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1">
              <a:extLst>
                <a:ext uri="{96DAC541-7B7A-43D3-8B79-37D633B846F1}">
                  <asvg:svgBlip xmlns:asvg="http://schemas.microsoft.com/office/drawing/2016/SVG/main" r:embed="rId15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0" name="XWhite" hidden="1">
            <a:extLst>
              <a:ext uri="{FF2B5EF4-FFF2-40B4-BE49-F238E27FC236}">
                <a16:creationId xmlns:a16="http://schemas.microsoft.com/office/drawing/2014/main" id="{A2977518-AE75-4B79-8F95-04F383F7FFF0}"/>
              </a:ext>
            </a:extLst>
          </p:cNvPr>
          <p:cNvGrpSpPr>
            <a:grpSpLocks noChangeAspect="1"/>
          </p:cNvGrpSpPr>
          <p:nvPr userDrawn="1">
            <p:custDataLst>
              <p:tags r:id="rId65"/>
            </p:custDataLst>
          </p:nvPr>
        </p:nvGrpSpPr>
        <p:grpSpPr>
          <a:xfrm>
            <a:off x="15573994" y="5992704"/>
            <a:ext cx="792456" cy="792456"/>
            <a:chOff x="1016000" y="1016000"/>
            <a:chExt cx="396228" cy="396228"/>
          </a:xfrm>
        </p:grpSpPr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1FB0CAA0-0844-46A1-A9E6-CA8FB656CF8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72" name="Graphic 271">
              <a:extLst>
                <a:ext uri="{FF2B5EF4-FFF2-40B4-BE49-F238E27FC236}">
                  <a16:creationId xmlns:a16="http://schemas.microsoft.com/office/drawing/2014/main" id="{C9129924-0613-4758-A60A-DDF93D6CC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9">
              <a:extLst>
                <a:ext uri="{96DAC541-7B7A-43D3-8B79-37D633B846F1}">
                  <asvg:svgBlip xmlns:asvg="http://schemas.microsoft.com/office/drawing/2016/SVG/main" r:embed="rId11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3" name="DivisionSignWhite" hidden="1">
            <a:extLst>
              <a:ext uri="{FF2B5EF4-FFF2-40B4-BE49-F238E27FC236}">
                <a16:creationId xmlns:a16="http://schemas.microsoft.com/office/drawing/2014/main" id="{D5DD571B-46F7-4904-ADCC-90BAFE59C833}"/>
              </a:ext>
            </a:extLst>
          </p:cNvPr>
          <p:cNvGrpSpPr>
            <a:grpSpLocks noChangeAspect="1"/>
          </p:cNvGrpSpPr>
          <p:nvPr userDrawn="1">
            <p:custDataLst>
              <p:tags r:id="rId66"/>
            </p:custDataLst>
          </p:nvPr>
        </p:nvGrpSpPr>
        <p:grpSpPr>
          <a:xfrm>
            <a:off x="15573994" y="7182412"/>
            <a:ext cx="792456" cy="792456"/>
            <a:chOff x="1016000" y="1016000"/>
            <a:chExt cx="396228" cy="396228"/>
          </a:xfrm>
        </p:grpSpPr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05CD9FEB-98E4-4322-AE32-F117BBAF21A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75" name="Graphic 274">
              <a:extLst>
                <a:ext uri="{FF2B5EF4-FFF2-40B4-BE49-F238E27FC236}">
                  <a16:creationId xmlns:a16="http://schemas.microsoft.com/office/drawing/2014/main" id="{9EB580A0-1A3F-421C-86EC-FF5A0EEC8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3">
              <a:extLst>
                <a:ext uri="{96DAC541-7B7A-43D3-8B79-37D633B846F1}">
                  <asvg:svgBlip xmlns:asvg="http://schemas.microsoft.com/office/drawing/2016/SVG/main" r:embed="rId15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6" name="EqualSignWhite" hidden="1">
            <a:extLst>
              <a:ext uri="{FF2B5EF4-FFF2-40B4-BE49-F238E27FC236}">
                <a16:creationId xmlns:a16="http://schemas.microsoft.com/office/drawing/2014/main" id="{07702208-472B-4004-808D-1E10DA4544F7}"/>
              </a:ext>
            </a:extLst>
          </p:cNvPr>
          <p:cNvGrpSpPr>
            <a:grpSpLocks noChangeAspect="1"/>
          </p:cNvGrpSpPr>
          <p:nvPr userDrawn="1">
            <p:custDataLst>
              <p:tags r:id="rId67"/>
            </p:custDataLst>
          </p:nvPr>
        </p:nvGrpSpPr>
        <p:grpSpPr>
          <a:xfrm>
            <a:off x="15573994" y="8372120"/>
            <a:ext cx="792456" cy="792456"/>
            <a:chOff x="1016000" y="1016000"/>
            <a:chExt cx="396228" cy="396228"/>
          </a:xfrm>
        </p:grpSpPr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83986D95-0DCD-446F-8598-489E70B0CD5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78" name="Graphic 277">
              <a:extLst>
                <a:ext uri="{FF2B5EF4-FFF2-40B4-BE49-F238E27FC236}">
                  <a16:creationId xmlns:a16="http://schemas.microsoft.com/office/drawing/2014/main" id="{860312C6-F5BD-4AF0-BCD8-AC99E8CA7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5">
              <a:extLst>
                <a:ext uri="{96DAC541-7B7A-43D3-8B79-37D633B846F1}">
                  <asvg:svgBlip xmlns:asvg="http://schemas.microsoft.com/office/drawing/2016/SVG/main" r:embed="rId15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9" name="MinusSignWhite" hidden="1">
            <a:extLst>
              <a:ext uri="{FF2B5EF4-FFF2-40B4-BE49-F238E27FC236}">
                <a16:creationId xmlns:a16="http://schemas.microsoft.com/office/drawing/2014/main" id="{3731A209-68F1-4EDB-9952-757BFE0443C4}"/>
              </a:ext>
            </a:extLst>
          </p:cNvPr>
          <p:cNvGrpSpPr>
            <a:grpSpLocks noChangeAspect="1"/>
          </p:cNvGrpSpPr>
          <p:nvPr userDrawn="1">
            <p:custDataLst>
              <p:tags r:id="rId68"/>
            </p:custDataLst>
          </p:nvPr>
        </p:nvGrpSpPr>
        <p:grpSpPr>
          <a:xfrm>
            <a:off x="15573994" y="9561826"/>
            <a:ext cx="792456" cy="792456"/>
            <a:chOff x="1016000" y="1016000"/>
            <a:chExt cx="396228" cy="396228"/>
          </a:xfrm>
        </p:grpSpPr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8C4837E9-9923-47F0-B915-95F2646D855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81" name="Graphic 280">
              <a:extLst>
                <a:ext uri="{FF2B5EF4-FFF2-40B4-BE49-F238E27FC236}">
                  <a16:creationId xmlns:a16="http://schemas.microsoft.com/office/drawing/2014/main" id="{161F9555-4F86-4DC8-B9F1-B88CD7C2C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7">
              <a:extLst>
                <a:ext uri="{96DAC541-7B7A-43D3-8B79-37D633B846F1}">
                  <asvg:svgBlip xmlns:asvg="http://schemas.microsoft.com/office/drawing/2016/SVG/main" r:embed="rId15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82" name="PlusSignBlue" hidden="1">
            <a:extLst>
              <a:ext uri="{FF2B5EF4-FFF2-40B4-BE49-F238E27FC236}">
                <a16:creationId xmlns:a16="http://schemas.microsoft.com/office/drawing/2014/main" id="{725BEB77-3FD0-4281-9FF3-89BD85894B87}"/>
              </a:ext>
            </a:extLst>
          </p:cNvPr>
          <p:cNvGrpSpPr>
            <a:grpSpLocks noChangeAspect="1"/>
          </p:cNvGrpSpPr>
          <p:nvPr userDrawn="1">
            <p:custDataLst>
              <p:tags r:id="rId69"/>
            </p:custDataLst>
          </p:nvPr>
        </p:nvGrpSpPr>
        <p:grpSpPr>
          <a:xfrm>
            <a:off x="17179844" y="4802996"/>
            <a:ext cx="792456" cy="792456"/>
            <a:chOff x="1016000" y="1016000"/>
            <a:chExt cx="396228" cy="396228"/>
          </a:xfrm>
        </p:grpSpPr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BF0740FA-CEB7-4987-82D1-C090B4E70C3B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84" name="Graphic 283">
              <a:extLst>
                <a:ext uri="{FF2B5EF4-FFF2-40B4-BE49-F238E27FC236}">
                  <a16:creationId xmlns:a16="http://schemas.microsoft.com/office/drawing/2014/main" id="{60E75EFD-22C4-4485-A1E5-A72E5370C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9">
              <a:extLst>
                <a:ext uri="{96DAC541-7B7A-43D3-8B79-37D633B846F1}">
                  <asvg:svgBlip xmlns:asvg="http://schemas.microsoft.com/office/drawing/2016/SVG/main" r:embed="rId16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85" name="XBlue" hidden="1">
            <a:extLst>
              <a:ext uri="{FF2B5EF4-FFF2-40B4-BE49-F238E27FC236}">
                <a16:creationId xmlns:a16="http://schemas.microsoft.com/office/drawing/2014/main" id="{F683F790-C952-435D-BE25-4D1EE95D4106}"/>
              </a:ext>
            </a:extLst>
          </p:cNvPr>
          <p:cNvGrpSpPr>
            <a:grpSpLocks noChangeAspect="1"/>
          </p:cNvGrpSpPr>
          <p:nvPr userDrawn="1">
            <p:custDataLst>
              <p:tags r:id="rId70"/>
            </p:custDataLst>
          </p:nvPr>
        </p:nvGrpSpPr>
        <p:grpSpPr>
          <a:xfrm>
            <a:off x="17179844" y="5992704"/>
            <a:ext cx="792456" cy="792456"/>
            <a:chOff x="1016000" y="1016000"/>
            <a:chExt cx="396228" cy="396228"/>
          </a:xfrm>
        </p:grpSpPr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8D47CB53-1695-47B9-9996-1C42EC477FB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87" name="Graphic 286">
              <a:extLst>
                <a:ext uri="{FF2B5EF4-FFF2-40B4-BE49-F238E27FC236}">
                  <a16:creationId xmlns:a16="http://schemas.microsoft.com/office/drawing/2014/main" id="{46D28A84-1201-40C0-9547-52879C9FB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9">
              <a:extLst>
                <a:ext uri="{96DAC541-7B7A-43D3-8B79-37D633B846F1}">
                  <asvg:svgBlip xmlns:asvg="http://schemas.microsoft.com/office/drawing/2016/SVG/main" r:embed="rId12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88" name="DivisionSignBlue" hidden="1">
            <a:extLst>
              <a:ext uri="{FF2B5EF4-FFF2-40B4-BE49-F238E27FC236}">
                <a16:creationId xmlns:a16="http://schemas.microsoft.com/office/drawing/2014/main" id="{8ADD1250-1A76-4B0C-A33B-8AAA9CAA7E13}"/>
              </a:ext>
            </a:extLst>
          </p:cNvPr>
          <p:cNvGrpSpPr>
            <a:grpSpLocks noChangeAspect="1"/>
          </p:cNvGrpSpPr>
          <p:nvPr userDrawn="1">
            <p:custDataLst>
              <p:tags r:id="rId71"/>
            </p:custDataLst>
          </p:nvPr>
        </p:nvGrpSpPr>
        <p:grpSpPr>
          <a:xfrm>
            <a:off x="17179844" y="7182412"/>
            <a:ext cx="792456" cy="792456"/>
            <a:chOff x="1016000" y="1016000"/>
            <a:chExt cx="396228" cy="396228"/>
          </a:xfrm>
        </p:grpSpPr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2C389829-30E8-4C96-A267-18E4E2D8CE03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79430639-E1FD-445F-B1F2-832E26FB4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1">
              <a:extLst>
                <a:ext uri="{96DAC541-7B7A-43D3-8B79-37D633B846F1}">
                  <asvg:svgBlip xmlns:asvg="http://schemas.microsoft.com/office/drawing/2016/SVG/main" r:embed="rId16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91" name="EqualSignBlue" hidden="1">
            <a:extLst>
              <a:ext uri="{FF2B5EF4-FFF2-40B4-BE49-F238E27FC236}">
                <a16:creationId xmlns:a16="http://schemas.microsoft.com/office/drawing/2014/main" id="{AF12CFAD-DDC5-47AF-9912-4B9D9EFB3FB2}"/>
              </a:ext>
            </a:extLst>
          </p:cNvPr>
          <p:cNvGrpSpPr>
            <a:grpSpLocks noChangeAspect="1"/>
          </p:cNvGrpSpPr>
          <p:nvPr userDrawn="1">
            <p:custDataLst>
              <p:tags r:id="rId72"/>
            </p:custDataLst>
          </p:nvPr>
        </p:nvGrpSpPr>
        <p:grpSpPr>
          <a:xfrm>
            <a:off x="17179844" y="8372120"/>
            <a:ext cx="792456" cy="792456"/>
            <a:chOff x="1016000" y="1016000"/>
            <a:chExt cx="396228" cy="396228"/>
          </a:xfrm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56A0EF31-AB4F-4D9F-A1E2-55EE8F312CD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93" name="Graphic 292">
              <a:extLst>
                <a:ext uri="{FF2B5EF4-FFF2-40B4-BE49-F238E27FC236}">
                  <a16:creationId xmlns:a16="http://schemas.microsoft.com/office/drawing/2014/main" id="{8C60B60E-379A-48C8-81F3-4BC30A40C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3">
              <a:extLst>
                <a:ext uri="{96DAC541-7B7A-43D3-8B79-37D633B846F1}">
                  <asvg:svgBlip xmlns:asvg="http://schemas.microsoft.com/office/drawing/2016/SVG/main" r:embed="rId16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94" name="MinusSignBlue" hidden="1">
            <a:extLst>
              <a:ext uri="{FF2B5EF4-FFF2-40B4-BE49-F238E27FC236}">
                <a16:creationId xmlns:a16="http://schemas.microsoft.com/office/drawing/2014/main" id="{4D7D6299-FE3B-46C4-9603-47607F8818AC}"/>
              </a:ext>
            </a:extLst>
          </p:cNvPr>
          <p:cNvGrpSpPr>
            <a:grpSpLocks noChangeAspect="1"/>
          </p:cNvGrpSpPr>
          <p:nvPr userDrawn="1">
            <p:custDataLst>
              <p:tags r:id="rId73"/>
            </p:custDataLst>
          </p:nvPr>
        </p:nvGrpSpPr>
        <p:grpSpPr>
          <a:xfrm>
            <a:off x="17179844" y="9561826"/>
            <a:ext cx="792456" cy="792456"/>
            <a:chOff x="1016000" y="1016000"/>
            <a:chExt cx="396228" cy="396228"/>
          </a:xfrm>
        </p:grpSpPr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5D37A8D7-9A12-4156-9551-D64CE87EB2C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96" name="Graphic 295">
              <a:extLst>
                <a:ext uri="{FF2B5EF4-FFF2-40B4-BE49-F238E27FC236}">
                  <a16:creationId xmlns:a16="http://schemas.microsoft.com/office/drawing/2014/main" id="{219C3D03-0E24-4D11-95F4-FEB5DCEEF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5">
              <a:extLst>
                <a:ext uri="{96DAC541-7B7A-43D3-8B79-37D633B846F1}">
                  <asvg:svgBlip xmlns:asvg="http://schemas.microsoft.com/office/drawing/2016/SVG/main" r:embed="rId16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97" name="StatusGaugeWhite" hidden="1">
            <a:extLst>
              <a:ext uri="{FF2B5EF4-FFF2-40B4-BE49-F238E27FC236}">
                <a16:creationId xmlns:a16="http://schemas.microsoft.com/office/drawing/2014/main" id="{D19F36F3-8BDD-4C4A-A256-1F4C6B107780}"/>
              </a:ext>
            </a:extLst>
          </p:cNvPr>
          <p:cNvGrpSpPr>
            <a:grpSpLocks noChangeAspect="1"/>
          </p:cNvGrpSpPr>
          <p:nvPr userDrawn="1">
            <p:custDataLst>
              <p:tags r:id="rId74"/>
            </p:custDataLst>
          </p:nvPr>
        </p:nvGrpSpPr>
        <p:grpSpPr>
          <a:xfrm>
            <a:off x="3568568" y="4802996"/>
            <a:ext cx="792456" cy="792456"/>
            <a:chOff x="1016000" y="1016000"/>
            <a:chExt cx="396228" cy="396228"/>
          </a:xfrm>
        </p:grpSpPr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4D463E0B-4750-4331-966F-AA7AD2E64DA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299" name="Graphic 298">
              <a:extLst>
                <a:ext uri="{FF2B5EF4-FFF2-40B4-BE49-F238E27FC236}">
                  <a16:creationId xmlns:a16="http://schemas.microsoft.com/office/drawing/2014/main" id="{79520D3E-AA68-4D73-8052-6B82517EB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3">
              <a:extLst>
                <a:ext uri="{96DAC541-7B7A-43D3-8B79-37D633B846F1}">
                  <asvg:svgBlip xmlns:asvg="http://schemas.microsoft.com/office/drawing/2016/SVG/main" r:embed="rId10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00" name="CheckmarkWhite" hidden="1">
            <a:extLst>
              <a:ext uri="{FF2B5EF4-FFF2-40B4-BE49-F238E27FC236}">
                <a16:creationId xmlns:a16="http://schemas.microsoft.com/office/drawing/2014/main" id="{24C9A39E-4969-44CF-94E6-53EE80771FED}"/>
              </a:ext>
            </a:extLst>
          </p:cNvPr>
          <p:cNvGrpSpPr>
            <a:grpSpLocks noChangeAspect="1"/>
          </p:cNvGrpSpPr>
          <p:nvPr userDrawn="1">
            <p:custDataLst>
              <p:tags r:id="rId75"/>
            </p:custDataLst>
          </p:nvPr>
        </p:nvGrpSpPr>
        <p:grpSpPr>
          <a:xfrm>
            <a:off x="3568568" y="5992704"/>
            <a:ext cx="792456" cy="792456"/>
            <a:chOff x="1016000" y="1016000"/>
            <a:chExt cx="396228" cy="396228"/>
          </a:xfrm>
        </p:grpSpPr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BF07F4E7-E176-46BE-A283-175BF7E3839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302" name="Graphic 301">
              <a:extLst>
                <a:ext uri="{FF2B5EF4-FFF2-40B4-BE49-F238E27FC236}">
                  <a16:creationId xmlns:a16="http://schemas.microsoft.com/office/drawing/2014/main" id="{41D26143-E993-4317-9F47-28654FEA3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5">
              <a:extLst>
                <a:ext uri="{96DAC541-7B7A-43D3-8B79-37D633B846F1}">
                  <asvg:svgBlip xmlns:asvg="http://schemas.microsoft.com/office/drawing/2016/SVG/main" r:embed="rId10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03" name="CheckmarkDashWhite" hidden="1">
            <a:extLst>
              <a:ext uri="{FF2B5EF4-FFF2-40B4-BE49-F238E27FC236}">
                <a16:creationId xmlns:a16="http://schemas.microsoft.com/office/drawing/2014/main" id="{F753CA6A-81A1-43E5-BF67-3ADF85F5EBC1}"/>
              </a:ext>
            </a:extLst>
          </p:cNvPr>
          <p:cNvGrpSpPr>
            <a:grpSpLocks noChangeAspect="1"/>
          </p:cNvGrpSpPr>
          <p:nvPr userDrawn="1">
            <p:custDataLst>
              <p:tags r:id="rId76"/>
            </p:custDataLst>
          </p:nvPr>
        </p:nvGrpSpPr>
        <p:grpSpPr>
          <a:xfrm>
            <a:off x="3568568" y="7182412"/>
            <a:ext cx="792456" cy="792456"/>
            <a:chOff x="1016000" y="1016000"/>
            <a:chExt cx="396228" cy="396228"/>
          </a:xfrm>
        </p:grpSpPr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0C75EFAB-2380-4AA8-99EA-3BBF8A4694C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305" name="Graphic 304">
              <a:extLst>
                <a:ext uri="{FF2B5EF4-FFF2-40B4-BE49-F238E27FC236}">
                  <a16:creationId xmlns:a16="http://schemas.microsoft.com/office/drawing/2014/main" id="{AC1CCC81-8DAC-4E83-9F96-5BD186B76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7">
              <a:extLst>
                <a:ext uri="{96DAC541-7B7A-43D3-8B79-37D633B846F1}">
                  <asvg:svgBlip xmlns:asvg="http://schemas.microsoft.com/office/drawing/2016/SVG/main" r:embed="rId10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06" name="XWhite" hidden="1">
            <a:extLst>
              <a:ext uri="{FF2B5EF4-FFF2-40B4-BE49-F238E27FC236}">
                <a16:creationId xmlns:a16="http://schemas.microsoft.com/office/drawing/2014/main" id="{3D3ABDE9-F72E-4885-8FFD-22E92739CAFA}"/>
              </a:ext>
            </a:extLst>
          </p:cNvPr>
          <p:cNvGrpSpPr>
            <a:grpSpLocks noChangeAspect="1"/>
          </p:cNvGrpSpPr>
          <p:nvPr userDrawn="1">
            <p:custDataLst>
              <p:tags r:id="rId77"/>
            </p:custDataLst>
          </p:nvPr>
        </p:nvGrpSpPr>
        <p:grpSpPr>
          <a:xfrm>
            <a:off x="3568568" y="8372120"/>
            <a:ext cx="792456" cy="792456"/>
            <a:chOff x="1016000" y="1016000"/>
            <a:chExt cx="396228" cy="396228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56C11794-BD6B-4982-98E6-00061D9239AB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308" name="Graphic 307">
              <a:extLst>
                <a:ext uri="{FF2B5EF4-FFF2-40B4-BE49-F238E27FC236}">
                  <a16:creationId xmlns:a16="http://schemas.microsoft.com/office/drawing/2014/main" id="{3B98A964-98E4-4158-B003-3452D6192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9">
              <a:extLst>
                <a:ext uri="{96DAC541-7B7A-43D3-8B79-37D633B846F1}">
                  <asvg:svgBlip xmlns:asvg="http://schemas.microsoft.com/office/drawing/2016/SVG/main" r:embed="rId11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09" name="FilterWhite" hidden="1">
            <a:extLst>
              <a:ext uri="{FF2B5EF4-FFF2-40B4-BE49-F238E27FC236}">
                <a16:creationId xmlns:a16="http://schemas.microsoft.com/office/drawing/2014/main" id="{7B15BD0B-4A45-4891-8254-0ED1088FEF71}"/>
              </a:ext>
            </a:extLst>
          </p:cNvPr>
          <p:cNvGrpSpPr>
            <a:grpSpLocks noChangeAspect="1"/>
          </p:cNvGrpSpPr>
          <p:nvPr userDrawn="1">
            <p:custDataLst>
              <p:tags r:id="rId78"/>
            </p:custDataLst>
          </p:nvPr>
        </p:nvGrpSpPr>
        <p:grpSpPr>
          <a:xfrm>
            <a:off x="3568568" y="9561826"/>
            <a:ext cx="792456" cy="792456"/>
            <a:chOff x="1016000" y="1016000"/>
            <a:chExt cx="396228" cy="396228"/>
          </a:xfrm>
        </p:grpSpPr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FDA57582-6920-4A8B-9E40-7527D2F84A5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tx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bg1"/>
                </a:solidFill>
              </a:endParaRPr>
            </a:p>
          </p:txBody>
        </p:sp>
        <p:pic>
          <p:nvPicPr>
            <p:cNvPr id="311" name="Graphic 310">
              <a:extLst>
                <a:ext uri="{FF2B5EF4-FFF2-40B4-BE49-F238E27FC236}">
                  <a16:creationId xmlns:a16="http://schemas.microsoft.com/office/drawing/2014/main" id="{2DADA017-9D0C-482C-B882-E2EE4EBB5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1">
              <a:extLst>
                <a:ext uri="{96DAC541-7B7A-43D3-8B79-37D633B846F1}">
                  <asvg:svgBlip xmlns:asvg="http://schemas.microsoft.com/office/drawing/2016/SVG/main" r:embed="rId11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12" name="SplitFlowOF" hidden="1">
            <a:extLst>
              <a:ext uri="{FF2B5EF4-FFF2-40B4-BE49-F238E27FC236}">
                <a16:creationId xmlns:a16="http://schemas.microsoft.com/office/drawing/2014/main" id="{F5D89C49-1B01-426B-87CC-DA6F6A969E38}"/>
              </a:ext>
            </a:extLst>
          </p:cNvPr>
          <p:cNvGrpSpPr/>
          <p:nvPr userDrawn="1">
            <p:custDataLst>
              <p:tags r:id="rId79"/>
            </p:custDataLst>
          </p:nvPr>
        </p:nvGrpSpPr>
        <p:grpSpPr>
          <a:xfrm>
            <a:off x="934139" y="6324600"/>
            <a:ext cx="3657602" cy="1828800"/>
            <a:chOff x="114299" y="1270000"/>
            <a:chExt cx="1828801" cy="914400"/>
          </a:xfrm>
        </p:grpSpPr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A7BB79F-65DC-4F30-967A-F14181085637}"/>
                </a:ext>
              </a:extLst>
            </p:cNvPr>
            <p:cNvSpPr/>
            <p:nvPr>
              <p:custDataLst>
                <p:tags r:id="rId8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6F91FDA0-26C7-4362-B059-74F0D995B8B3}"/>
                </a:ext>
              </a:extLst>
            </p:cNvPr>
            <p:cNvSpPr txBox="1"/>
            <p:nvPr>
              <p:custDataLst>
                <p:tags r:id="rId8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solidFill>
                    <a:schemeClr val="bg1"/>
                  </a:solidFill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600" dirty="0">
                  <a:solidFill>
                    <a:schemeClr val="bg1"/>
                  </a:solidFill>
                </a:defRPr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/>
              <a:r>
                <a:rPr lang="en-US" sz="3200" b="1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161BC8EA-7756-45D4-8B63-C2E470586AB4}"/>
                </a:ext>
              </a:extLst>
            </p:cNvPr>
            <p:cNvSpPr/>
            <p:nvPr>
              <p:custDataLst>
                <p:tags r:id="rId8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D8EA8386-A4D3-4C69-B0BA-2C9CA6F0C22B}"/>
                </a:ext>
              </a:extLst>
            </p:cNvPr>
            <p:cNvSpPr txBox="1"/>
            <p:nvPr>
              <p:custDataLst>
                <p:tags r:id="rId8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solidFill>
                    <a:schemeClr val="bg1"/>
                  </a:solidFill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600" dirty="0">
                  <a:solidFill>
                    <a:schemeClr val="bg1"/>
                  </a:solidFill>
                </a:defRPr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/>
              <a:r>
                <a:rPr lang="en-US" sz="3200" b="1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C4FECE57-9C39-42AB-8DE6-FBBC39995F03}"/>
                </a:ext>
              </a:extLst>
            </p:cNvPr>
            <p:cNvSpPr/>
            <p:nvPr>
              <p:custDataLst>
                <p:tags r:id="rId8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spcAft>
                  <a:spcPts val="600"/>
                </a:spcAft>
              </a:pPr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4ECE6557-B4C5-44B9-B2DE-846A4DAC63D0}"/>
                </a:ext>
              </a:extLst>
            </p:cNvPr>
            <p:cNvSpPr txBox="1"/>
            <p:nvPr>
              <p:custDataLst>
                <p:tags r:id="rId8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solidFill>
                    <a:schemeClr val="bg1"/>
                  </a:solidFill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600" dirty="0">
                  <a:solidFill>
                    <a:schemeClr val="bg1"/>
                  </a:solidFill>
                </a:defRPr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Symbol" panose="05050102010706020507" pitchFamily="18" charset="2"/>
                <a:buChar char="-"/>
                <a:defRPr lang="en-US" sz="1600" dirty="0">
                  <a:solidFill>
                    <a:schemeClr val="bg1"/>
                  </a:solidFill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/>
              <a:r>
                <a:rPr lang="en-US" sz="3200" b="1">
                  <a:solidFill>
                    <a:schemeClr val="tx1"/>
                  </a:solidFill>
                </a:rPr>
                <a:t>Text</a:t>
              </a:r>
            </a:p>
          </p:txBody>
        </p:sp>
      </p:grpSp>
      <p:sp>
        <p:nvSpPr>
          <p:cNvPr id="324" name="Sticker" hidden="1">
            <a:extLst>
              <a:ext uri="{FF2B5EF4-FFF2-40B4-BE49-F238E27FC236}">
                <a16:creationId xmlns:a16="http://schemas.microsoft.com/office/drawing/2014/main" id="{43682935-D5BC-44A6-BFEC-02368923C779}"/>
              </a:ext>
            </a:extLst>
          </p:cNvPr>
          <p:cNvSpPr txBox="1"/>
          <p:nvPr userDrawn="1"/>
        </p:nvSpPr>
        <p:spPr>
          <a:xfrm>
            <a:off x="959652" y="2750003"/>
            <a:ext cx="899284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 sz="1600">
                <a:solidFill>
                  <a:schemeClr val="bg1"/>
                </a:solidFill>
              </a:rPr>
              <a:t>STICKER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706632E3-EC92-4A6F-AD6F-92E124583E16}"/>
              </a:ext>
            </a:extLst>
          </p:cNvPr>
          <p:cNvSpPr txBox="1"/>
          <p:nvPr userDrawn="1"/>
        </p:nvSpPr>
        <p:spPr>
          <a:xfrm>
            <a:off x="20562393" y="13230425"/>
            <a:ext cx="2689839" cy="30777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chemeClr val="tx1"/>
                </a:solidFill>
              </a:rPr>
              <a:t>McKinsey &amp; Company</a:t>
            </a:r>
          </a:p>
        </p:txBody>
      </p:sp>
      <p:sp>
        <p:nvSpPr>
          <p:cNvPr id="4" name="MSIPCMContentMarking" descr="{&quot;HashCode&quot;:417909460,&quot;Placement&quot;:&quot;Header&quot;,&quot;Top&quot;:0.0,&quot;Left&quot;:933.295349,&quot;SlideWidth&quot;:1920,&quot;SlideHeight&quot;:1080}">
            <a:extLst>
              <a:ext uri="{FF2B5EF4-FFF2-40B4-BE49-F238E27FC236}">
                <a16:creationId xmlns:a16="http://schemas.microsoft.com/office/drawing/2014/main" id="{CF2EBEF8-CF35-40CB-AD1A-7D216E4D8F7D}"/>
              </a:ext>
            </a:extLst>
          </p:cNvPr>
          <p:cNvSpPr txBox="1"/>
          <p:nvPr userDrawn="1"/>
        </p:nvSpPr>
        <p:spPr>
          <a:xfrm>
            <a:off x="11852851" y="0"/>
            <a:ext cx="678298" cy="2623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DE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78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xStyles>
    <p:titleStyle>
      <a:lvl1pPr algn="l" defTabSz="1828800" rtl="0" eaLnBrk="1" latinLnBrk="0" hangingPunct="1">
        <a:lnSpc>
          <a:spcPts val="5600"/>
        </a:lnSpc>
        <a:spcBef>
          <a:spcPct val="0"/>
        </a:spcBef>
        <a:buNone/>
        <a:defRPr lang="en-US" sz="5600" b="0" kern="1200" cap="none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3200" kern="1200" dirty="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365760" indent="-36576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32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731520" indent="-36576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Symbol" panose="05050102010706020507" pitchFamily="18" charset="2"/>
        <a:buChar char="-"/>
        <a:defRPr lang="en-US" sz="32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1097280" indent="-36576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Symbol" panose="05050102010706020507" pitchFamily="18" charset="2"/>
        <a:buChar char="-"/>
        <a:defRPr lang="en-US" sz="32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463040" indent="-36576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Symbol" panose="05050102010706020507" pitchFamily="18" charset="2"/>
        <a:buChar char="-"/>
        <a:defRPr lang="en-US" sz="32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2171700" indent="-3429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2171700" indent="-3429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2171700" indent="-3429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2171700" indent="-3429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▫"/>
        <a:defRPr sz="3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65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371">
          <p15:clr>
            <a:srgbClr val="F26B43"/>
          </p15:clr>
        </p15:guide>
        <p15:guide id="5" pos="7379">
          <p15:clr>
            <a:srgbClr val="F26B43"/>
          </p15:clr>
        </p15:guide>
        <p15:guide id="6" pos="29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hyperlink" Target="https://cmp.allianz.net/display/GFM/Technical+Specification+of+Metrics+and+KPIs+for+Alex+Global+Commercial+MIS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allianzms-my.sharepoint.com/:p:/r/personal/maximilian_hughes_allianz_com/_layouts/15/Doc.aspx?sourcedoc=%7B2EE85BD8-13A1-403A-8EA3-A475D1716D7D%7D&amp;file=ALEX_MVP2_design_v2.pptx&amp;action=edit&amp;mobileredirect=true&amp;cid=6fc54451-a26b-48fb-a09e-9c9f25298ba1&amp;PreviousSessionID=4a8d6cae-f2ce-8906-b613-ace51b4b08aa" TargetMode="Externa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93.xml"/><Relationship Id="rId7" Type="http://schemas.openxmlformats.org/officeDocument/2006/relationships/slideLayout" Target="../slideLayouts/slideLayout4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5" Type="http://schemas.openxmlformats.org/officeDocument/2006/relationships/tags" Target="../tags/tag195.xml"/><Relationship Id="rId4" Type="http://schemas.openxmlformats.org/officeDocument/2006/relationships/tags" Target="../tags/tag194.xml"/><Relationship Id="rId9" Type="http://schemas.openxmlformats.org/officeDocument/2006/relationships/image" Target="../media/image98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hyperlink" Target="https://jmp.allianz.net/browse/MPA-1593?filter=212373" TargetMode="Externa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jmp.allianz.net/browse/MPA-1593?filter=21237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2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9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jmp.allianz.net/browse/MPA-1428?filter=212373" TargetMode="External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498" y="2916558"/>
            <a:ext cx="22466302" cy="3240000"/>
          </a:xfrm>
        </p:spPr>
        <p:txBody>
          <a:bodyPr/>
          <a:lstStyle/>
          <a:p>
            <a:r>
              <a:rPr lang="en-US" noProof="0"/>
              <a:t>ALEx MIS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78688" y="5903443"/>
            <a:ext cx="20011392" cy="3312000"/>
          </a:xfrm>
        </p:spPr>
        <p:txBody>
          <a:bodyPr/>
          <a:lstStyle/>
          <a:p>
            <a:r>
              <a:rPr lang="en-US" sz="8800" noProof="0"/>
              <a:t>Dashboard design team update</a:t>
            </a:r>
            <a:endParaRPr lang="en-US" sz="8800" noProof="0">
              <a:cs typeface="Arial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281" y="11937600"/>
            <a:ext cx="4297057" cy="1092248"/>
          </a:xfrm>
        </p:spPr>
        <p:txBody>
          <a:bodyPr/>
          <a:lstStyle/>
          <a:p>
            <a:r>
              <a:rPr lang="en-US" noProof="0"/>
              <a:t>Allianz SE</a:t>
            </a:r>
          </a:p>
          <a:p>
            <a:r>
              <a:rPr lang="en-US"/>
              <a:t>Global Commercial – Data Team</a:t>
            </a:r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4F302BB-326D-4195-A983-4A410F1E4A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5200" y="11937600"/>
            <a:ext cx="3385800" cy="1092248"/>
          </a:xfrm>
        </p:spPr>
        <p:txBody>
          <a:bodyPr/>
          <a:lstStyle/>
          <a:p>
            <a:r>
              <a:rPr lang="en-US" noProof="0"/>
              <a:t>Munich, Germany</a:t>
            </a:r>
            <a:br>
              <a:rPr lang="en-US" noProof="0"/>
            </a:br>
            <a:r>
              <a:rPr lang="en-US"/>
              <a:t>January 2023</a:t>
            </a:r>
            <a:endParaRPr lang="en-US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A9F233-ACB6-4F5B-AE7E-6CB0FCE762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noProof="0"/>
              <a:t>© Allianz 2022</a:t>
            </a:r>
          </a:p>
        </p:txBody>
      </p:sp>
    </p:spTree>
    <p:extLst>
      <p:ext uri="{BB962C8B-B14F-4D97-AF65-F5344CB8AC3E}">
        <p14:creationId xmlns:p14="http://schemas.microsoft.com/office/powerpoint/2010/main" val="4150961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FA70E-8446-4007-A483-46CABE74EB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D18386-D41B-4EDC-AD50-873AFB55D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/>
              <a:t> MVP Dashboard capabilities</a:t>
            </a:r>
            <a:endParaRPr lang="en-DE"/>
          </a:p>
        </p:txBody>
      </p:sp>
      <p:pic>
        <p:nvPicPr>
          <p:cNvPr id="8" name="Picture 8" descr="Table&#10;&#10;Description automatically generated">
            <a:extLst>
              <a:ext uri="{FF2B5EF4-FFF2-40B4-BE49-F238E27FC236}">
                <a16:creationId xmlns:a16="http://schemas.microsoft.com/office/drawing/2014/main" id="{693EFB0C-2B2A-8ED1-8E55-59EBB491B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442328" y="2750316"/>
            <a:ext cx="11415441" cy="10813750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529A3D-577A-7CF2-558C-625181CAC25D}"/>
              </a:ext>
            </a:extLst>
          </p:cNvPr>
          <p:cNvSpPr txBox="1"/>
          <p:nvPr/>
        </p:nvSpPr>
        <p:spPr>
          <a:xfrm>
            <a:off x="965898" y="2749325"/>
            <a:ext cx="8606106" cy="33239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>
                <a:solidFill>
                  <a:schemeClr val="bg1"/>
                </a:solidFill>
                <a:latin typeface="Arial"/>
              </a:rPr>
              <a:t>Portfolio Performance</a:t>
            </a: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loss ratio</a:t>
            </a: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average portfolio loss ratio benchmark</a:t>
            </a: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GWP</a:t>
            </a: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net increase in GWP</a:t>
            </a:r>
          </a:p>
          <a:p>
            <a:pPr algn="l"/>
            <a:endParaRPr lang="en-US" sz="3600">
              <a:solidFill>
                <a:schemeClr val="bg1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0B1BE9-AF7A-1F39-21A2-38A4851780D9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Max &amp; Jenny</a:t>
            </a:r>
          </a:p>
        </p:txBody>
      </p:sp>
    </p:spTree>
    <p:extLst>
      <p:ext uri="{BB962C8B-B14F-4D97-AF65-F5344CB8AC3E}">
        <p14:creationId xmlns:p14="http://schemas.microsoft.com/office/powerpoint/2010/main" val="136030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FA70E-8446-4007-A483-46CABE74EB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D18386-D41B-4EDC-AD50-873AFB55D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/>
              <a:t> MVP Dashboard capabilities</a:t>
            </a:r>
            <a:endParaRPr lang="en-DE"/>
          </a:p>
        </p:txBody>
      </p:sp>
      <p:pic>
        <p:nvPicPr>
          <p:cNvPr id="9" name="Picture 9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33181B6F-5FD5-F49A-9D65-3CE86EEC2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9568" y="2302002"/>
            <a:ext cx="11283350" cy="103792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529A3D-577A-7CF2-558C-625181CAC25D}"/>
              </a:ext>
            </a:extLst>
          </p:cNvPr>
          <p:cNvSpPr txBox="1"/>
          <p:nvPr/>
        </p:nvSpPr>
        <p:spPr>
          <a:xfrm>
            <a:off x="1164516" y="2522333"/>
            <a:ext cx="8864898" cy="49859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>
                <a:solidFill>
                  <a:schemeClr val="bg1"/>
                </a:solidFill>
                <a:latin typeface="Arial"/>
              </a:rPr>
              <a:t>Exposure &amp; Accumulation</a:t>
            </a:r>
            <a:endParaRPr lang="en-US">
              <a:solidFill>
                <a:schemeClr val="bg1"/>
              </a:solidFill>
              <a:latin typeface="Arial"/>
            </a:endParaRPr>
          </a:p>
          <a:p>
            <a:pPr algn="l"/>
            <a:endParaRPr lang="en-US" sz="3600">
              <a:solidFill>
                <a:schemeClr val="bg1"/>
              </a:solidFill>
              <a:latin typeface="Arial"/>
            </a:endParaRP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Minimum, Maximum and Average Sum Insured for Property policies</a:t>
            </a:r>
            <a:endParaRPr lang="en-US"/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Minimum, Maximum and Average Gross Limit for Liability policies</a:t>
            </a:r>
            <a:endParaRPr lang="en-US"/>
          </a:p>
          <a:p>
            <a:pPr algn="l"/>
            <a:endParaRPr lang="en-US" sz="3600" b="0"/>
          </a:p>
          <a:p>
            <a:pPr algn="l"/>
            <a:endParaRPr lang="en-US" sz="3600" b="0"/>
          </a:p>
          <a:p>
            <a:pPr algn="l"/>
            <a:endParaRPr lang="en-US" sz="3600">
              <a:solidFill>
                <a:schemeClr val="bg1"/>
              </a:solidFill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40AB54-5946-9E1D-CC17-55EBC1E4EA5A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Max &amp; Jenny</a:t>
            </a:r>
          </a:p>
        </p:txBody>
      </p:sp>
    </p:spTree>
    <p:extLst>
      <p:ext uri="{BB962C8B-B14F-4D97-AF65-F5344CB8AC3E}">
        <p14:creationId xmlns:p14="http://schemas.microsoft.com/office/powerpoint/2010/main" val="577090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FA70E-8446-4007-A483-46CABE74EB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D18386-D41B-4EDC-AD50-873AFB55D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/>
              <a:t> MVP Dashboard capabilities</a:t>
            </a:r>
            <a:endParaRPr lang="en-DE"/>
          </a:p>
        </p:txBody>
      </p:sp>
      <p:pic>
        <p:nvPicPr>
          <p:cNvPr id="10" name="Picture 10" descr="Table&#10;&#10;Description automatically generated">
            <a:extLst>
              <a:ext uri="{FF2B5EF4-FFF2-40B4-BE49-F238E27FC236}">
                <a16:creationId xmlns:a16="http://schemas.microsoft.com/office/drawing/2014/main" id="{013AB439-1F33-200B-00F9-3BD1A45B67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2370" y="2801683"/>
            <a:ext cx="16385129" cy="918023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529A3D-577A-7CF2-558C-625181CAC25D}"/>
              </a:ext>
            </a:extLst>
          </p:cNvPr>
          <p:cNvSpPr txBox="1"/>
          <p:nvPr/>
        </p:nvSpPr>
        <p:spPr>
          <a:xfrm>
            <a:off x="965898" y="2749325"/>
            <a:ext cx="5989428" cy="27699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>
                <a:solidFill>
                  <a:schemeClr val="bg1"/>
                </a:solidFill>
                <a:latin typeface="Arial"/>
              </a:rPr>
              <a:t>Unique Customer View</a:t>
            </a:r>
          </a:p>
          <a:p>
            <a:pPr marL="571500" indent="-571500" algn="l">
              <a:buFont typeface="Arial"/>
              <a:buChar char="•"/>
            </a:pPr>
            <a:r>
              <a:rPr lang="en-US" sz="3600" b="0"/>
              <a:t>Company holding structure hierarchy</a:t>
            </a:r>
            <a:endParaRPr lang="en-US"/>
          </a:p>
          <a:p>
            <a:pPr algn="l"/>
            <a:endParaRPr lang="en-US" sz="3600" b="0"/>
          </a:p>
          <a:p>
            <a:pPr algn="l"/>
            <a:endParaRPr lang="en-US" sz="3600">
              <a:solidFill>
                <a:schemeClr val="bg1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8D0F-46EA-7072-8642-17EC75977FD0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Max &amp; Jenny</a:t>
            </a:r>
          </a:p>
        </p:txBody>
      </p:sp>
    </p:spTree>
    <p:extLst>
      <p:ext uri="{BB962C8B-B14F-4D97-AF65-F5344CB8AC3E}">
        <p14:creationId xmlns:p14="http://schemas.microsoft.com/office/powerpoint/2010/main" val="4100212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FA70E-8446-4007-A483-46CABE74EB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D18386-D41B-4EDC-AD50-873AFB55D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/>
              <a:t> MVP Dashboard capabilities</a:t>
            </a:r>
            <a:endParaRPr lang="en-DE"/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CEB192AD-1CA8-0089-3276-0C0A81AC8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4804" y="2648001"/>
            <a:ext cx="16545462" cy="93747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529A3D-577A-7CF2-558C-625181CAC25D}"/>
              </a:ext>
            </a:extLst>
          </p:cNvPr>
          <p:cNvSpPr txBox="1"/>
          <p:nvPr/>
        </p:nvSpPr>
        <p:spPr>
          <a:xfrm>
            <a:off x="965898" y="2749325"/>
            <a:ext cx="5040521" cy="16619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>
                <a:solidFill>
                  <a:schemeClr val="bg1"/>
                </a:solidFill>
                <a:latin typeface="Arial"/>
              </a:rPr>
              <a:t>Data Summary</a:t>
            </a:r>
          </a:p>
          <a:p>
            <a:pPr algn="l"/>
            <a:endParaRPr lang="en-US" sz="3600" b="0"/>
          </a:p>
          <a:p>
            <a:pPr algn="l"/>
            <a:endParaRPr lang="en-US" sz="3600">
              <a:solidFill>
                <a:schemeClr val="bg1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3B22E-7E9B-A0EE-1607-0088CD356E91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Max &amp; Jenny</a:t>
            </a:r>
          </a:p>
        </p:txBody>
      </p:sp>
    </p:spTree>
    <p:extLst>
      <p:ext uri="{BB962C8B-B14F-4D97-AF65-F5344CB8AC3E}">
        <p14:creationId xmlns:p14="http://schemas.microsoft.com/office/powerpoint/2010/main" val="1144800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9600">
                <a:ea typeface="+mj-lt"/>
                <a:cs typeface="+mj-lt"/>
              </a:rPr>
              <a:t>Set Up </a:t>
            </a:r>
            <a:r>
              <a:rPr lang="en-US" sz="9600">
                <a:cs typeface="Arial"/>
              </a:rPr>
              <a:t>Consumption Layer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2376D5-E45D-96BC-A91C-0451E5ED2060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 dirty="0">
                <a:solidFill>
                  <a:srgbClr val="FAB600"/>
                </a:solidFill>
              </a:rPr>
              <a:t>Christoph</a:t>
            </a:r>
          </a:p>
          <a:p>
            <a:pPr algn="l"/>
            <a:endParaRPr lang="en-GB" sz="3600" dirty="0">
              <a:solidFill>
                <a:srgbClr val="FAB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0824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466AF4B-B5AB-436A-8FE4-67958F7CE5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EC1C8A5-0F5A-42FC-A9C4-F8A14D3C8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del </a:t>
            </a:r>
            <a:r>
              <a:rPr lang="de-DE" err="1"/>
              <a:t>Consumption</a:t>
            </a:r>
            <a:r>
              <a:rPr lang="de-DE"/>
              <a:t> Layer</a:t>
            </a: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E32D31B7-25B2-2A6B-8E4D-58096B9B85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42440" y="2411667"/>
            <a:ext cx="17046449" cy="10523423"/>
          </a:xfrm>
        </p:spPr>
      </p:pic>
    </p:spTree>
    <p:extLst>
      <p:ext uri="{BB962C8B-B14F-4D97-AF65-F5344CB8AC3E}">
        <p14:creationId xmlns:p14="http://schemas.microsoft.com/office/powerpoint/2010/main" val="19610072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B475B4-63E1-4B42-8A7E-9E702A1ACF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E6BA69-C23D-43F2-9E3F-61617D63A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3" y="978593"/>
            <a:ext cx="21099041" cy="1774134"/>
          </a:xfrm>
        </p:spPr>
        <p:txBody>
          <a:bodyPr/>
          <a:lstStyle/>
          <a:p>
            <a:r>
              <a:rPr lang="en-US"/>
              <a:t>Analysis of foundation dashboard requirements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26F763-6700-4515-AB67-EBB18B9F6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With the compiled set from GDA a model for the consumption layer was created which ensures the following front-end capabilities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>
              <a:cs typeface="Arial" panose="020B0604020202020204"/>
            </a:endParaRPr>
          </a:p>
          <a:p>
            <a:pPr marL="1147500" lvl="1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Cross-Filtering between dimensions</a:t>
            </a:r>
          </a:p>
          <a:p>
            <a:pPr marL="1147500" lvl="1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Annual aggregated views</a:t>
            </a:r>
          </a:p>
          <a:p>
            <a:pPr marL="1147500" lvl="1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Trend analysis of KPIs</a:t>
            </a:r>
          </a:p>
          <a:p>
            <a:pPr marL="1147500" lvl="1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Distribution of measures</a:t>
            </a:r>
          </a:p>
          <a:p>
            <a:pPr marL="1147500" lvl="1" indent="-571500">
              <a:buFont typeface="Arial" panose="020B0604020202020204" pitchFamily="34" charset="0"/>
              <a:buChar char="•"/>
            </a:pPr>
            <a:r>
              <a:rPr lang="en-US">
                <a:cs typeface="Arial" panose="020B0604020202020204"/>
              </a:rPr>
              <a:t>Segmentation</a:t>
            </a:r>
          </a:p>
          <a:p>
            <a:pPr marL="1147500" lvl="1" indent="-571500">
              <a:buFont typeface="Arial" panose="020B0604020202020204" pitchFamily="34" charset="0"/>
              <a:buChar char="•"/>
            </a:pPr>
            <a:endParaRPr lang="en-US">
              <a:cs typeface="Arial" panose="020B0604020202020204"/>
            </a:endParaRPr>
          </a:p>
          <a:p>
            <a:pPr marL="1147500" lvl="1" indent="-571500">
              <a:buFont typeface="Arial" panose="020B0604020202020204" pitchFamily="34" charset="0"/>
              <a:buChar char="•"/>
            </a:pPr>
            <a:endParaRPr lang="en-US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272482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028F20-20D5-42AC-88EE-33EAC06E71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A1E838-51DB-443A-BA89-E89FABD70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ical Specification of Metrics and KPI</a:t>
            </a:r>
            <a:endParaRPr lang="en-DE"/>
          </a:p>
        </p:txBody>
      </p:sp>
      <p:sp>
        <p:nvSpPr>
          <p:cNvPr id="7" name="AutoShape 2" descr="(warning)">
            <a:extLst>
              <a:ext uri="{FF2B5EF4-FFF2-40B4-BE49-F238E27FC236}">
                <a16:creationId xmlns:a16="http://schemas.microsoft.com/office/drawing/2014/main" id="{8DE76C8B-3819-48D2-848F-9EB273EB4C4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4177962" y="-10482263"/>
            <a:ext cx="14871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sp>
        <p:nvSpPr>
          <p:cNvPr id="8" name="AutoShape 3" descr="(question)">
            <a:extLst>
              <a:ext uri="{FF2B5EF4-FFF2-40B4-BE49-F238E27FC236}">
                <a16:creationId xmlns:a16="http://schemas.microsoft.com/office/drawing/2014/main" id="{9FBC040B-784C-4C66-9AAA-CC893960FE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4578012" y="-10482263"/>
            <a:ext cx="14871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sp>
        <p:nvSpPr>
          <p:cNvPr id="9" name="AutoShape 4" descr="(warning)">
            <a:extLst>
              <a:ext uri="{FF2B5EF4-FFF2-40B4-BE49-F238E27FC236}">
                <a16:creationId xmlns:a16="http://schemas.microsoft.com/office/drawing/2014/main" id="{C8D46FCB-787B-41FB-A282-2A39AB5E3A1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4978062" y="-10482263"/>
            <a:ext cx="14871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sp>
        <p:nvSpPr>
          <p:cNvPr id="10" name="AutoShape 5" descr="(warning)">
            <a:extLst>
              <a:ext uri="{FF2B5EF4-FFF2-40B4-BE49-F238E27FC236}">
                <a16:creationId xmlns:a16="http://schemas.microsoft.com/office/drawing/2014/main" id="{FB7E8001-F1E1-4851-9F2F-E9B42A1523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378112" y="-10482263"/>
            <a:ext cx="14871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sp>
        <p:nvSpPr>
          <p:cNvPr id="11" name="AutoShape 6" descr="(warning)">
            <a:extLst>
              <a:ext uri="{FF2B5EF4-FFF2-40B4-BE49-F238E27FC236}">
                <a16:creationId xmlns:a16="http://schemas.microsoft.com/office/drawing/2014/main" id="{C915673F-03DA-4588-9D9E-983D2B6640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778162" y="-10482263"/>
            <a:ext cx="14871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70D8B6B7-CF32-4090-AD71-DEDBBB0BEA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849" y="2119377"/>
            <a:ext cx="22426718" cy="10212324"/>
          </a:xfrm>
        </p:spPr>
        <p:txBody>
          <a:bodyPr/>
          <a:lstStyle/>
          <a:p>
            <a:r>
              <a:rPr lang="en-US"/>
              <a:t>Detailed explanation of derived metrics for </a:t>
            </a:r>
            <a:r>
              <a:rPr lang="en-US" err="1"/>
              <a:t>ALEx</a:t>
            </a:r>
            <a:r>
              <a:rPr lang="en-US"/>
              <a:t> MIS - </a:t>
            </a:r>
            <a:r>
              <a:rPr lang="en-US">
                <a:hlinkClick r:id="rId2"/>
              </a:rPr>
              <a:t>link</a:t>
            </a:r>
            <a:endParaRPr lang="en-DE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293B87EC-F983-693E-62B7-58E1E326D3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09" y="3119414"/>
            <a:ext cx="12738264" cy="10404479"/>
          </a:xfrm>
          <a:prstGeom prst="rect">
            <a:avLst/>
          </a:prstGeom>
        </p:spPr>
      </p:pic>
      <p:pic>
        <p:nvPicPr>
          <p:cNvPr id="5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DC616AFA-7AF9-05F1-F329-BF4B474B19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89587" y="3781068"/>
            <a:ext cx="11530939" cy="744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5207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9600">
                <a:cs typeface="Arial"/>
              </a:rPr>
              <a:t>End of Quarter 1 2023</a:t>
            </a:r>
          </a:p>
        </p:txBody>
      </p:sp>
    </p:spTree>
    <p:extLst>
      <p:ext uri="{BB962C8B-B14F-4D97-AF65-F5344CB8AC3E}">
        <p14:creationId xmlns:p14="http://schemas.microsoft.com/office/powerpoint/2010/main" val="24013953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 noProof="0"/>
              <a:t> Foundation Dashboard </a:t>
            </a:r>
            <a:r>
              <a:rPr lang="en-US">
                <a:solidFill>
                  <a:srgbClr val="13A0D3"/>
                </a:solidFill>
              </a:rPr>
              <a:t>Scop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198C50-2AD8-D98E-61BE-C03E08C110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800" b="1">
                <a:ea typeface="+mn-lt"/>
                <a:cs typeface="+mn-lt"/>
              </a:rPr>
              <a:t>General modifications:</a:t>
            </a:r>
            <a:endParaRPr lang="en-US" sz="4800" b="1">
              <a:cs typeface="Arial"/>
            </a:endParaRPr>
          </a:p>
          <a:p>
            <a:pPr marL="1147445" lvl="2" indent="-575945">
              <a:buFont typeface="Arial,Sans-Serif"/>
              <a:buChar char="•"/>
            </a:pPr>
            <a:endParaRPr lang="en-US">
              <a:ea typeface="+mn-lt"/>
              <a:cs typeface="+mn-lt"/>
            </a:endParaRPr>
          </a:p>
          <a:p>
            <a:pPr marL="1143000" lvl="2" indent="-571500">
              <a:lnSpc>
                <a:spcPct val="150000"/>
              </a:lnSpc>
            </a:pPr>
            <a:r>
              <a:rPr lang="en-US" b="1">
                <a:ea typeface="+mn-lt"/>
                <a:cs typeface="+mn-lt"/>
              </a:rPr>
              <a:t>Granularity:</a:t>
            </a:r>
            <a:r>
              <a:rPr lang="en-US">
                <a:ea typeface="+mn-lt"/>
                <a:cs typeface="+mn-lt"/>
              </a:rPr>
              <a:t> Drill down from five year to one year aggregation (Underwriting &amp; Accident Year)</a:t>
            </a:r>
            <a:endParaRPr lang="en-US">
              <a:cs typeface="Arial" panose="020B0604020202020204"/>
            </a:endParaRPr>
          </a:p>
          <a:p>
            <a:pPr marL="1147445" lvl="1" indent="-575945">
              <a:lnSpc>
                <a:spcPct val="150000"/>
              </a:lnSpc>
              <a:buFont typeface="Arial,Sans-Serif"/>
              <a:buChar char="•"/>
            </a:pPr>
            <a:r>
              <a:rPr lang="en-US" b="1">
                <a:cs typeface="Arial" panose="020B0604020202020204"/>
              </a:rPr>
              <a:t>Specific views:</a:t>
            </a:r>
            <a:r>
              <a:rPr lang="en-US">
                <a:cs typeface="Arial" panose="020B0604020202020204"/>
              </a:rPr>
              <a:t> Addition of new filter options</a:t>
            </a:r>
          </a:p>
          <a:p>
            <a:pPr marL="1147445" lvl="1" indent="-575945">
              <a:lnSpc>
                <a:spcPct val="150000"/>
              </a:lnSpc>
              <a:buFont typeface="Arial,Sans-Serif"/>
              <a:buChar char="•"/>
            </a:pPr>
            <a:r>
              <a:rPr lang="en-US" b="1">
                <a:cs typeface="Arial" panose="020B0604020202020204"/>
              </a:rPr>
              <a:t>Volume:</a:t>
            </a:r>
            <a:r>
              <a:rPr lang="en-US">
                <a:cs typeface="Arial" panose="020B0604020202020204"/>
              </a:rPr>
              <a:t> </a:t>
            </a:r>
            <a:r>
              <a:rPr lang="en-US">
                <a:ea typeface="+mn-lt"/>
                <a:cs typeface="+mn-lt"/>
              </a:rPr>
              <a:t>New KPIs with focus on claims and premium</a:t>
            </a:r>
          </a:p>
          <a:p>
            <a:pPr marL="1147445" lvl="1" indent="-575945">
              <a:lnSpc>
                <a:spcPct val="150000"/>
              </a:lnSpc>
              <a:buFont typeface="Arial,Sans-Serif"/>
              <a:buChar char="•"/>
            </a:pPr>
            <a:r>
              <a:rPr lang="en-US" b="1">
                <a:ea typeface="+mn-lt"/>
                <a:cs typeface="+mn-lt"/>
              </a:rPr>
              <a:t>Dashboard Features: </a:t>
            </a:r>
            <a:endParaRPr lang="en-US">
              <a:ea typeface="+mn-lt"/>
              <a:cs typeface="+mn-lt"/>
            </a:endParaRPr>
          </a:p>
          <a:p>
            <a:pPr marL="2875280" lvl="4" indent="-575945">
              <a:lnSpc>
                <a:spcPct val="150000"/>
              </a:lnSpc>
              <a:buFont typeface="Courier New"/>
              <a:buChar char="o"/>
            </a:pPr>
            <a:r>
              <a:rPr lang="en-US">
                <a:ea typeface="+mn-lt"/>
                <a:cs typeface="+mn-lt"/>
              </a:rPr>
              <a:t>Cross-OE Benchmarking: contrast of OEs on different KPIs and dimensions</a:t>
            </a:r>
          </a:p>
          <a:p>
            <a:pPr marL="2875280" lvl="4" indent="-575945">
              <a:lnSpc>
                <a:spcPct val="150000"/>
              </a:lnSpc>
              <a:buFont typeface="Courier New"/>
              <a:buChar char="o"/>
            </a:pPr>
            <a:r>
              <a:rPr lang="en-US">
                <a:ea typeface="+mn-lt"/>
                <a:cs typeface="+mn-lt"/>
              </a:rPr>
              <a:t>Segment Analysis: in-depth view with drill down capabilities of OEs on different KPIs and dimensions</a:t>
            </a:r>
          </a:p>
          <a:p>
            <a:pPr marL="2299335" lvl="4" indent="0">
              <a:lnSpc>
                <a:spcPct val="150000"/>
              </a:lnSpc>
              <a:buNone/>
            </a:pPr>
            <a:endParaRPr lang="en-US">
              <a:cs typeface="Arial"/>
            </a:endParaRPr>
          </a:p>
          <a:p>
            <a:pPr marL="571500" lvl="1" indent="0">
              <a:lnSpc>
                <a:spcPct val="150000"/>
              </a:lnSpc>
              <a:buNone/>
            </a:pPr>
            <a:endParaRPr lang="en-US">
              <a:ea typeface="+mn-lt"/>
              <a:cs typeface="+mn-lt"/>
            </a:endParaRPr>
          </a:p>
          <a:p>
            <a:pPr marL="571500" lvl="1" indent="0">
              <a:lnSpc>
                <a:spcPct val="150000"/>
              </a:lnSpc>
              <a:buNone/>
            </a:pPr>
            <a:endParaRPr lang="en-US">
              <a:ea typeface="+mn-lt"/>
              <a:cs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EC1A46-039C-2E27-E0D8-A932850174FD}"/>
              </a:ext>
            </a:extLst>
          </p:cNvPr>
          <p:cNvSpPr txBox="1"/>
          <p:nvPr/>
        </p:nvSpPr>
        <p:spPr>
          <a:xfrm>
            <a:off x="958849" y="35066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Max &amp; Jenny</a:t>
            </a:r>
          </a:p>
        </p:txBody>
      </p:sp>
    </p:spTree>
    <p:extLst>
      <p:ext uri="{BB962C8B-B14F-4D97-AF65-F5344CB8AC3E}">
        <p14:creationId xmlns:p14="http://schemas.microsoft.com/office/powerpoint/2010/main" val="2704156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165181-A9C3-4869-A563-4486468D5665}"/>
              </a:ext>
            </a:extLst>
          </p:cNvPr>
          <p:cNvSpPr txBox="1"/>
          <p:nvPr/>
        </p:nvSpPr>
        <p:spPr>
          <a:xfrm>
            <a:off x="1524000" y="2189286"/>
            <a:ext cx="20502880" cy="93374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ct val="107000"/>
              </a:lnSpc>
              <a:spcAft>
                <a:spcPts val="800"/>
              </a:spcAft>
            </a:pPr>
            <a:r>
              <a:rPr lang="en-US" sz="480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Contents</a:t>
            </a:r>
            <a:endParaRPr lang="de-DE" sz="4800" dirty="0">
              <a:effectLst/>
              <a:latin typeface="+mj-lt"/>
              <a:ea typeface="Calibri" panose="020F0502020204030204" pitchFamily="34" charset="0"/>
              <a:cs typeface="Arial"/>
            </a:endParaRPr>
          </a:p>
          <a:p>
            <a:pPr marL="359410" lvl="0" indent="-719455" algn="l">
              <a:lnSpc>
                <a:spcPct val="107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48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How did we leave things when last we met?</a:t>
            </a:r>
            <a:endParaRPr lang="de-DE" sz="4800" b="0" dirty="0">
              <a:effectLst/>
              <a:latin typeface="+mj-lt"/>
              <a:ea typeface="Calibri" panose="020F0502020204030204" pitchFamily="34" charset="0"/>
              <a:cs typeface="Arial"/>
            </a:endParaRPr>
          </a:p>
          <a:p>
            <a:pPr marL="359410" lvl="0" indent="-719455" algn="l">
              <a:lnSpc>
                <a:spcPct val="107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48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What has happened since</a:t>
            </a:r>
            <a:endParaRPr lang="de-DE" sz="4800" b="0" dirty="0">
              <a:effectLst/>
              <a:latin typeface="+mj-lt"/>
              <a:ea typeface="Calibri" panose="020F0502020204030204" pitchFamily="34" charset="0"/>
              <a:cs typeface="Arial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latin typeface="+mj-lt"/>
                <a:cs typeface="Arial"/>
              </a:rPr>
              <a:t>Overview - 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Byron</a:t>
            </a:r>
            <a:endParaRPr lang="de-DE" sz="4000" kern="1200" dirty="0">
              <a:solidFill>
                <a:srgbClr val="FAB600"/>
              </a:solidFill>
              <a:latin typeface="+mj-lt"/>
              <a:cs typeface="Arial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latin typeface="+mj-lt"/>
                <a:cs typeface="Arial"/>
              </a:rPr>
              <a:t>Analysis – 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Suhas &amp; Pirmin</a:t>
            </a:r>
            <a:endParaRPr lang="de-DE" sz="4000" kern="1200" dirty="0">
              <a:solidFill>
                <a:srgbClr val="FAB600"/>
              </a:solidFill>
              <a:latin typeface="+mj-lt"/>
              <a:cs typeface="Arial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MVP – 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Max &amp; Jenny?</a:t>
            </a: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latin typeface="+mj-lt"/>
                <a:cs typeface="Arial"/>
              </a:rPr>
              <a:t>KPIs –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 Jan-Hendrik</a:t>
            </a:r>
            <a:endParaRPr lang="de-DE" sz="4000" kern="1200" dirty="0">
              <a:solidFill>
                <a:srgbClr val="FAB600"/>
              </a:solidFill>
              <a:latin typeface="+mj-lt"/>
              <a:cs typeface="Arial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GDA foundation dashboards 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Mangal"/>
              </a:rPr>
              <a:t>–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 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Max &amp; Jenny?</a:t>
            </a:r>
            <a:endParaRPr lang="de-DE" sz="4000" kern="1200" dirty="0">
              <a:solidFill>
                <a:srgbClr val="FAB600"/>
              </a:solidFill>
              <a:latin typeface="+mj-lt"/>
              <a:cs typeface="Arial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AT solution design 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Mangal"/>
              </a:rPr>
              <a:t>–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 </a:t>
            </a:r>
            <a:r>
              <a:rPr lang="en-US" sz="4000" dirty="0">
                <a:solidFill>
                  <a:srgbClr val="FAB600"/>
                </a:solidFill>
                <a:latin typeface="+mj-lt"/>
              </a:rPr>
              <a:t>Christoph</a:t>
            </a:r>
            <a:r>
              <a:rPr lang="en-US" sz="4000" kern="1200" dirty="0">
                <a:solidFill>
                  <a:srgbClr val="FAB600"/>
                </a:solidFill>
                <a:latin typeface="+mj-lt"/>
                <a:cs typeface="Arial"/>
              </a:rPr>
              <a:t>?</a:t>
            </a: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latin typeface="+mj-lt"/>
                <a:ea typeface="Times New Roman" panose="02020603050405020304" pitchFamily="18" charset="0"/>
                <a:cs typeface="Arial"/>
              </a:rPr>
              <a:t>Data office/GBG/CIM CRs for missing/erroneous attributes – </a:t>
            </a:r>
            <a:r>
              <a:rPr lang="en-US" sz="4000" dirty="0">
                <a:solidFill>
                  <a:srgbClr val="FAB600"/>
                </a:solidFill>
                <a:latin typeface="+mj-lt"/>
              </a:rPr>
              <a:t>Myriam?</a:t>
            </a:r>
            <a:endParaRPr lang="de-DE" sz="4000" dirty="0">
              <a:solidFill>
                <a:srgbClr val="FAB600"/>
              </a:solidFill>
              <a:latin typeface="+mj-lt"/>
            </a:endParaRPr>
          </a:p>
          <a:p>
            <a:pPr marL="1439545" lvl="1" indent="-719455" algn="l">
              <a:lnSpc>
                <a:spcPct val="107000"/>
              </a:lnSpc>
              <a:buFont typeface="+mj-lt"/>
              <a:buAutoNum type="alphaLcPeriod"/>
            </a:pP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Q1 Timeline 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Mangal"/>
              </a:rPr>
              <a:t>–</a:t>
            </a:r>
            <a:r>
              <a:rPr lang="en-US" sz="4000" b="0" kern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/>
              </a:rPr>
              <a:t> </a:t>
            </a:r>
            <a:r>
              <a:rPr lang="en-US" sz="4000" dirty="0">
                <a:solidFill>
                  <a:srgbClr val="FAB600"/>
                </a:solidFill>
                <a:latin typeface="+mj-lt"/>
              </a:rPr>
              <a:t>Mattias?</a:t>
            </a:r>
            <a:endParaRPr lang="de-DE" sz="4000" dirty="0">
              <a:solidFill>
                <a:srgbClr val="FAB600"/>
              </a:solidFill>
              <a:latin typeface="+mj-lt"/>
            </a:endParaRPr>
          </a:p>
          <a:p>
            <a:pPr marL="359410" indent="-719455" algn="l">
              <a:lnSpc>
                <a:spcPct val="107000"/>
              </a:lnSpc>
              <a:spcBef>
                <a:spcPts val="12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4800" b="0" kern="1200" dirty="0">
                <a:latin typeface="+mj-lt"/>
                <a:cs typeface="Arial"/>
              </a:rPr>
              <a:t>What happens next? - </a:t>
            </a:r>
            <a:r>
              <a:rPr lang="en-US" sz="3600" dirty="0">
                <a:solidFill>
                  <a:srgbClr val="FAB600"/>
                </a:solidFill>
                <a:latin typeface="+mj-lt"/>
              </a:rPr>
              <a:t>Byron</a:t>
            </a:r>
            <a:endParaRPr lang="de-DE" sz="3600" dirty="0">
              <a:solidFill>
                <a:srgbClr val="FAB600"/>
              </a:solidFill>
              <a:latin typeface="+mj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AB9DE96-CA25-4F91-99D7-61B1FE194C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42848" y="1960790"/>
            <a:ext cx="3682303" cy="207282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D6E39D3-D3F4-4CBC-AA97-2AEFE8FE1773}"/>
              </a:ext>
            </a:extLst>
          </p:cNvPr>
          <p:cNvSpPr txBox="1"/>
          <p:nvPr/>
        </p:nvSpPr>
        <p:spPr>
          <a:xfrm>
            <a:off x="958849" y="94488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Byron</a:t>
            </a:r>
            <a:endParaRPr lang="de-DE" sz="3600">
              <a:solidFill>
                <a:srgbClr val="FAB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5572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4A817E4-52F2-465E-B6BF-E8C669B8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874" y="978593"/>
            <a:ext cx="20086072" cy="1774134"/>
          </a:xfrm>
        </p:spPr>
        <p:txBody>
          <a:bodyPr/>
          <a:lstStyle/>
          <a:p>
            <a:r>
              <a:rPr lang="en-US" noProof="0"/>
              <a:t>Available </a:t>
            </a:r>
            <a:r>
              <a:rPr lang="en-US">
                <a:solidFill>
                  <a:srgbClr val="13A0D3"/>
                </a:solidFill>
              </a:rPr>
              <a:t>Business KPIs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E28CDE-B077-4102-BD46-8FEF4C2D7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778" y="12744000"/>
            <a:ext cx="537990" cy="288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20</a:t>
            </a:fld>
            <a:endParaRPr lang="en-US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0DA3126-5AE2-4556-82F1-84DB3B02E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3417905"/>
              </p:ext>
            </p:extLst>
          </p:nvPr>
        </p:nvGraphicFramePr>
        <p:xfrm>
          <a:off x="856778" y="2670927"/>
          <a:ext cx="22199657" cy="29068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88460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11197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467541">
                <a:tc>
                  <a:txBody>
                    <a:bodyPr/>
                    <a:lstStyle/>
                    <a:p>
                      <a:r>
                        <a:rPr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In</a:t>
                      </a:r>
                      <a:endParaRPr kumimoji="0" lang="en-US" sz="24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Arial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867109">
                <a:tc>
                  <a:txBody>
                    <a:bodyPr/>
                    <a:lstStyle/>
                    <a:p>
                      <a:pPr marL="0" lvl="1" indent="0" algn="l" defTabSz="193542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GWP/ GEP split in UW year &amp; Accident year (option to have multiple years cumulative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193542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NWP/ GNEP split in UW year &amp; Accident year (option to have multiple years cumulative)</a:t>
                      </a:r>
                    </a:p>
                    <a:p>
                      <a:pPr lvl="0">
                        <a:buNone/>
                      </a:pPr>
                      <a:endParaRPr lang="en-DE" sz="2400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  <a:tr h="1250638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et increase in GWP split in UW year &amp; Accident year (option to have multiple years cumulative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DE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71081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0D3A865-DC59-F91A-BF0E-272C0C723049}"/>
              </a:ext>
            </a:extLst>
          </p:cNvPr>
          <p:cNvSpPr txBox="1"/>
          <p:nvPr/>
        </p:nvSpPr>
        <p:spPr>
          <a:xfrm>
            <a:off x="856778" y="2057180"/>
            <a:ext cx="9366786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Premiu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364610-6258-61F5-0D74-D2BE8C9210BC}"/>
              </a:ext>
            </a:extLst>
          </p:cNvPr>
          <p:cNvSpPr txBox="1"/>
          <p:nvPr/>
        </p:nvSpPr>
        <p:spPr>
          <a:xfrm>
            <a:off x="857918" y="5549293"/>
            <a:ext cx="9366786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Claims</a:t>
            </a: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41F609CE-E04B-B401-5EE3-E68005C562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359789"/>
              </p:ext>
            </p:extLst>
          </p:nvPr>
        </p:nvGraphicFramePr>
        <p:xfrm>
          <a:off x="856778" y="6205979"/>
          <a:ext cx="22183953" cy="3902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65138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18815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451956">
                <a:tc>
                  <a:txBody>
                    <a:bodyPr/>
                    <a:lstStyle/>
                    <a:p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  <a:sym typeface="Helvetica Neue"/>
                        </a:rPr>
                        <a:t>I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868995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everity split in UW year &amp; Accident year</a:t>
                      </a:r>
                    </a:p>
                    <a:p>
                      <a:pPr marL="0" lvl="1" indent="0" algn="l" defTabSz="193542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2400" kern="120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DE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  <a:tr h="716540"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i="0" u="none" strike="noStrike" kern="1200" noProof="0">
                          <a:solidFill>
                            <a:srgbClr val="00B050"/>
                          </a:solidFill>
                          <a:latin typeface="Arial"/>
                        </a:rPr>
                        <a:t>Frequency split in UW year &amp; Accident year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8545243"/>
                  </a:ext>
                </a:extLst>
              </a:tr>
              <a:tr h="929978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ss ratio split in industry cluster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solidFill>
                            <a:schemeClr val="bg1"/>
                          </a:solidFill>
                        </a:rPr>
                        <a:t>Gross Net Loss ratio split in industry cluster</a:t>
                      </a:r>
                      <a:endParaRPr lang="en-DE" sz="24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710811"/>
                  </a:ext>
                </a:extLst>
              </a:tr>
              <a:tr h="929978"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ss ratio split in UW year &amp; Accident year (option to have multiple years cumulative)</a:t>
                      </a:r>
                      <a:endParaRPr lang="en-US" sz="2400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>
                          <a:solidFill>
                            <a:schemeClr val="bg1"/>
                          </a:solidFill>
                        </a:rPr>
                        <a:t>Gross Net Loss ratio split in UW year &amp; Accident year (option to have multiple years cumulative)</a:t>
                      </a:r>
                    </a:p>
                  </a:txBody>
                  <a:tcPr>
                    <a:lnL w="12700">
                      <a:solidFill>
                        <a:schemeClr val="bg1"/>
                      </a:solidFill>
                    </a:lnL>
                    <a:lnR w="12700">
                      <a:solidFill>
                        <a:schemeClr val="bg1"/>
                      </a:solidFill>
                    </a:lnR>
                    <a:lnT w="12700">
                      <a:solidFill>
                        <a:schemeClr val="bg1"/>
                      </a:solidFill>
                    </a:lnT>
                    <a:lnB w="12700">
                      <a:solidFill>
                        <a:schemeClr val="bg1"/>
                      </a:solidFill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97654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BF7F9A5-D700-8AD0-3271-4A32CD6F5081}"/>
              </a:ext>
            </a:extLst>
          </p:cNvPr>
          <p:cNvSpPr txBox="1"/>
          <p:nvPr/>
        </p:nvSpPr>
        <p:spPr>
          <a:xfrm>
            <a:off x="858932" y="10460374"/>
            <a:ext cx="9382497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Portfolio Performance</a:t>
            </a:r>
          </a:p>
        </p:txBody>
      </p:sp>
      <p:graphicFrame>
        <p:nvGraphicFramePr>
          <p:cNvPr id="12" name="Table 2">
            <a:extLst>
              <a:ext uri="{FF2B5EF4-FFF2-40B4-BE49-F238E27FC236}">
                <a16:creationId xmlns:a16="http://schemas.microsoft.com/office/drawing/2014/main" id="{E059C946-3976-955B-31BA-5DD01A6FC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541865"/>
              </p:ext>
            </p:extLst>
          </p:nvPr>
        </p:nvGraphicFramePr>
        <p:xfrm>
          <a:off x="834221" y="11118975"/>
          <a:ext cx="22231087" cy="20447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111409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19678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446537">
                <a:tc>
                  <a:txBody>
                    <a:bodyPr/>
                    <a:lstStyle/>
                    <a:p>
                      <a:r>
                        <a:rPr lang="en-US" sz="2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In</a:t>
                      </a:r>
                      <a:endParaRPr kumimoji="0" lang="en-US" sz="2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Arial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703635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ss ratio split in UW year &amp; Accident year (option to have multiple years cumulative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solidFill>
                            <a:schemeClr val="bg1"/>
                          </a:solidFill>
                        </a:rPr>
                        <a:t>Net loss ratio split in UW year &amp; Accident year (option to have multiple years cumulative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  <a:tr h="703635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verage portfolio loss ratio benchmark split in UW year &amp; Accident 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>
                          <a:solidFill>
                            <a:schemeClr val="bg1"/>
                          </a:solidFill>
                        </a:rPr>
                        <a:t>Average portfolio net loss ratio benchmark split in UW year &amp; Acciden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710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0565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4A817E4-52F2-465E-B6BF-E8C669B8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874" y="978593"/>
            <a:ext cx="20086072" cy="1774134"/>
          </a:xfrm>
        </p:spPr>
        <p:txBody>
          <a:bodyPr/>
          <a:lstStyle/>
          <a:p>
            <a:r>
              <a:rPr lang="en-US" noProof="0"/>
              <a:t>Available </a:t>
            </a:r>
            <a:r>
              <a:rPr lang="en-US">
                <a:solidFill>
                  <a:srgbClr val="13A0D3"/>
                </a:solidFill>
              </a:rPr>
              <a:t>Business KPIs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E28CDE-B077-4102-BD46-8FEF4C2D7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2887161" y="12744000"/>
            <a:ext cx="537990" cy="288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21</a:t>
            </a:fld>
            <a:endParaRPr lang="en-US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0DA3126-5AE2-4556-82F1-84DB3B02E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639197"/>
              </p:ext>
            </p:extLst>
          </p:nvPr>
        </p:nvGraphicFramePr>
        <p:xfrm>
          <a:off x="818636" y="2670927"/>
          <a:ext cx="22231083" cy="19224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96308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34775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383347">
                <a:tc>
                  <a:txBody>
                    <a:bodyPr/>
                    <a:lstStyle/>
                    <a:p>
                      <a:r>
                        <a:rPr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In</a:t>
                      </a:r>
                      <a:endParaRPr kumimoji="0" lang="en-US" sz="24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Arial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568413">
                <a:tc>
                  <a:txBody>
                    <a:bodyPr/>
                    <a:lstStyle/>
                    <a:p>
                      <a:pPr marL="0" marR="0" lvl="1" indent="0" algn="l" defTabSz="193542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nimum, Maximum and Average Sum Insured for Property polici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DE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  <a:tr h="793133">
                <a:tc>
                  <a:txBody>
                    <a:bodyPr/>
                    <a:lstStyle/>
                    <a:p>
                      <a:pPr marL="0" marR="0" lvl="1" indent="0" algn="l" defTabSz="193542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nimum, Maximum and Average Gross Limit for Liability polici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DE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71081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0D3A865-DC59-F91A-BF0E-272C0C723049}"/>
              </a:ext>
            </a:extLst>
          </p:cNvPr>
          <p:cNvSpPr txBox="1"/>
          <p:nvPr/>
        </p:nvSpPr>
        <p:spPr>
          <a:xfrm>
            <a:off x="818636" y="2057180"/>
            <a:ext cx="9366786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Exposure &amp; Accumulation</a:t>
            </a:r>
          </a:p>
          <a:p>
            <a:pPr algn="l"/>
            <a:endParaRPr lang="en-US" sz="4000">
              <a:solidFill>
                <a:schemeClr val="bg1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364610-6258-61F5-0D74-D2BE8C9210BC}"/>
              </a:ext>
            </a:extLst>
          </p:cNvPr>
          <p:cNvSpPr txBox="1"/>
          <p:nvPr/>
        </p:nvSpPr>
        <p:spPr>
          <a:xfrm>
            <a:off x="818636" y="4676550"/>
            <a:ext cx="9366786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Customer Profile</a:t>
            </a: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41F609CE-E04B-B401-5EE3-E68005C562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370796"/>
              </p:ext>
            </p:extLst>
          </p:nvPr>
        </p:nvGraphicFramePr>
        <p:xfrm>
          <a:off x="818636" y="5375309"/>
          <a:ext cx="22199661" cy="1280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80823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18838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286256">
                <a:tc>
                  <a:txBody>
                    <a:bodyPr/>
                    <a:lstStyle/>
                    <a:p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  <a:sym typeface="Helvetica Neue"/>
                        </a:rPr>
                        <a:t>I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51526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any holding structure hierarchy</a:t>
                      </a:r>
                    </a:p>
                    <a:p>
                      <a:pPr marL="0" lvl="1" indent="0" algn="l" defTabSz="193542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2400" kern="120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DE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BF7F9A5-D700-8AD0-3271-4A32CD6F5081}"/>
              </a:ext>
            </a:extLst>
          </p:cNvPr>
          <p:cNvSpPr txBox="1"/>
          <p:nvPr/>
        </p:nvSpPr>
        <p:spPr>
          <a:xfrm>
            <a:off x="818636" y="6797969"/>
            <a:ext cx="9382497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>
                <a:solidFill>
                  <a:schemeClr val="bg1"/>
                </a:solidFill>
                <a:latin typeface="Arial"/>
              </a:rPr>
              <a:t>Data Summary</a:t>
            </a:r>
          </a:p>
        </p:txBody>
      </p:sp>
      <p:graphicFrame>
        <p:nvGraphicFramePr>
          <p:cNvPr id="12" name="Table 2">
            <a:extLst>
              <a:ext uri="{FF2B5EF4-FFF2-40B4-BE49-F238E27FC236}">
                <a16:creationId xmlns:a16="http://schemas.microsoft.com/office/drawing/2014/main" id="{E059C946-3976-955B-31BA-5DD01A6FC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661478"/>
              </p:ext>
            </p:extLst>
          </p:nvPr>
        </p:nvGraphicFramePr>
        <p:xfrm>
          <a:off x="818636" y="7518909"/>
          <a:ext cx="22215372" cy="18551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88365">
                  <a:extLst>
                    <a:ext uri="{9D8B030D-6E8A-4147-A177-3AD203B41FA5}">
                      <a16:colId xmlns:a16="http://schemas.microsoft.com/office/drawing/2014/main" val="4133429389"/>
                    </a:ext>
                  </a:extLst>
                </a:gridCol>
                <a:gridCol w="11127007">
                  <a:extLst>
                    <a:ext uri="{9D8B030D-6E8A-4147-A177-3AD203B41FA5}">
                      <a16:colId xmlns:a16="http://schemas.microsoft.com/office/drawing/2014/main" val="3632423529"/>
                    </a:ext>
                  </a:extLst>
                </a:gridCol>
              </a:tblGrid>
              <a:tr h="446537">
                <a:tc>
                  <a:txBody>
                    <a:bodyPr/>
                    <a:lstStyle/>
                    <a:p>
                      <a:r>
                        <a:rPr lang="en-US" sz="2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In</a:t>
                      </a:r>
                      <a:endParaRPr kumimoji="0" lang="en-US" sz="2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Arial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935420" rtl="0" eaLnBrk="1" latinLnBrk="0" hangingPunct="1"/>
                      <a:r>
                        <a:rPr kumimoji="0" lang="en-US" sz="2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Arial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95124"/>
                  </a:ext>
                </a:extLst>
              </a:tr>
              <a:tr h="633402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tinct count of business keys per O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14"/>
                  </a:ext>
                </a:extLst>
              </a:tr>
              <a:tr h="703635">
                <a:tc>
                  <a:txBody>
                    <a:bodyPr/>
                    <a:lstStyle/>
                    <a:p>
                      <a:pPr marL="0" marR="0" lvl="1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 of all KPIs on Underwriting and Accident Year level per O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DB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5F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710811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CA8F1224-266D-4905-86BF-993C1E8F9C8D}"/>
              </a:ext>
            </a:extLst>
          </p:cNvPr>
          <p:cNvSpPr txBox="1"/>
          <p:nvPr/>
        </p:nvSpPr>
        <p:spPr>
          <a:xfrm>
            <a:off x="864585" y="10046023"/>
            <a:ext cx="22169423" cy="17147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1" indent="0" algn="l" defTabSz="1935420" hangingPunct="1"/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*</a:t>
            </a:r>
          </a:p>
          <a:p>
            <a:pPr lvl="1" indent="0" algn="l" defTabSz="1935420" hangingPunct="1"/>
            <a:endParaRPr lang="de-DE" sz="24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lvl="1" indent="0" algn="l" defTabSz="1935420" hangingPunct="1"/>
            <a:endParaRPr lang="de-DE" sz="24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lvl="1" indent="0" algn="l" defTabSz="1935420" hangingPunct="1"/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*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5F421E1-65C9-4333-97E9-FA881561B2A3}"/>
              </a:ext>
            </a:extLst>
          </p:cNvPr>
          <p:cNvSpPr txBox="1"/>
          <p:nvPr/>
        </p:nvSpPr>
        <p:spPr>
          <a:xfrm>
            <a:off x="1061357" y="10046023"/>
            <a:ext cx="20682858" cy="9428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1" indent="0" algn="l" defTabSz="1935420" hangingPunct="1"/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lculation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lated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Premium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vailable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ros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basi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cause the field </a:t>
            </a:r>
            <a:r>
              <a:rPr lang="en-US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mium_share_ceded</a:t>
            </a:r>
            <a:r>
              <a:rPr lang="en-US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s not yet available but is considered to be implemented in the CIM in Q1 2023.</a:t>
            </a:r>
            <a:endParaRPr lang="de-DE" sz="24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48029E1-DA72-491D-9500-94643901210A}"/>
              </a:ext>
            </a:extLst>
          </p:cNvPr>
          <p:cNvSpPr txBox="1"/>
          <p:nvPr/>
        </p:nvSpPr>
        <p:spPr>
          <a:xfrm>
            <a:off x="1061357" y="11045073"/>
            <a:ext cx="20682858" cy="9428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1" indent="0" algn="l" defTabSz="1935420" hangingPunct="1"/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lculation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lated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curred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/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ported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osse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vailable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ros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240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basis</a:t>
            </a:r>
            <a:r>
              <a:rPr lang="de-DE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24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cause the current data delivery contains neither reinsurance recoveries nor payments/reserves net of fac but is considered to be implemented in the CIM in Q1 2023.</a:t>
            </a:r>
            <a:endParaRPr lang="de-DE" sz="24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8992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0D374C-2844-4267-8C6D-CA19D6142C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9797F0-F05E-467E-8159-8628BBB48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LEx</a:t>
            </a:r>
            <a:r>
              <a:rPr lang="en-US"/>
              <a:t> Foundational Dashboard </a:t>
            </a:r>
            <a:r>
              <a:rPr lang="en-US">
                <a:solidFill>
                  <a:srgbClr val="13A0D3"/>
                </a:solidFill>
              </a:rPr>
              <a:t>Scope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6054CD-9EA5-4FD1-87EA-A0E97ACC1B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800" b="1" err="1">
                <a:ea typeface="+mn-lt"/>
                <a:cs typeface="+mn-lt"/>
              </a:rPr>
              <a:t>ALEx</a:t>
            </a:r>
            <a:r>
              <a:rPr lang="en-US" sz="4800" b="1">
                <a:ea typeface="+mn-lt"/>
                <a:cs typeface="+mn-lt"/>
              </a:rPr>
              <a:t> Dashboard Design</a:t>
            </a:r>
            <a:r>
              <a:rPr lang="en-US">
                <a:ea typeface="+mn-lt"/>
                <a:cs typeface="+mn-lt"/>
              </a:rPr>
              <a:t>: </a:t>
            </a:r>
            <a:r>
              <a:rPr lang="en-US">
                <a:ea typeface="+mn-lt"/>
                <a:cs typeface="+mn-lt"/>
                <a:hlinkClick r:id="rId2"/>
              </a:rPr>
              <a:t>Foundational Dashboard</a:t>
            </a:r>
            <a:endParaRPr lang="en-US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1064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9600">
                <a:cs typeface="Arial"/>
              </a:rPr>
              <a:t>Appendix</a:t>
            </a:r>
            <a:endParaRPr lang="en-US" sz="9600"/>
          </a:p>
        </p:txBody>
      </p:sp>
    </p:spTree>
    <p:extLst>
      <p:ext uri="{BB962C8B-B14F-4D97-AF65-F5344CB8AC3E}">
        <p14:creationId xmlns:p14="http://schemas.microsoft.com/office/powerpoint/2010/main" val="25712816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C4E0C6-5242-40D0-A5B8-C294EB8CF6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05DD17-CC18-4B92-B4EB-EA67A6817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CS current KPIs data availability</a:t>
            </a:r>
            <a:endParaRPr lang="en-DE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834A664-A734-4537-A048-33BFC537DB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354092"/>
              </p:ext>
            </p:extLst>
          </p:nvPr>
        </p:nvGraphicFramePr>
        <p:xfrm>
          <a:off x="958849" y="2656718"/>
          <a:ext cx="7970690" cy="1096326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32164">
                  <a:extLst>
                    <a:ext uri="{9D8B030D-6E8A-4147-A177-3AD203B41FA5}">
                      <a16:colId xmlns:a16="http://schemas.microsoft.com/office/drawing/2014/main" val="519880302"/>
                    </a:ext>
                  </a:extLst>
                </a:gridCol>
                <a:gridCol w="3711429">
                  <a:extLst>
                    <a:ext uri="{9D8B030D-6E8A-4147-A177-3AD203B41FA5}">
                      <a16:colId xmlns:a16="http://schemas.microsoft.com/office/drawing/2014/main" val="2569728357"/>
                    </a:ext>
                  </a:extLst>
                </a:gridCol>
                <a:gridCol w="1101651">
                  <a:extLst>
                    <a:ext uri="{9D8B030D-6E8A-4147-A177-3AD203B41FA5}">
                      <a16:colId xmlns:a16="http://schemas.microsoft.com/office/drawing/2014/main" val="3219397853"/>
                    </a:ext>
                  </a:extLst>
                </a:gridCol>
                <a:gridCol w="1145392">
                  <a:extLst>
                    <a:ext uri="{9D8B030D-6E8A-4147-A177-3AD203B41FA5}">
                      <a16:colId xmlns:a16="http://schemas.microsoft.com/office/drawing/2014/main" val="2141536366"/>
                    </a:ext>
                  </a:extLst>
                </a:gridCol>
                <a:gridCol w="1180054">
                  <a:extLst>
                    <a:ext uri="{9D8B030D-6E8A-4147-A177-3AD203B41FA5}">
                      <a16:colId xmlns:a16="http://schemas.microsoft.com/office/drawing/2014/main" val="2502090668"/>
                    </a:ext>
                  </a:extLst>
                </a:gridCol>
              </a:tblGrid>
              <a:tr h="2436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Dashboard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KPI/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Available?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Not required?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Unavailable?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5223857"/>
                  </a:ext>
                </a:extLst>
              </a:tr>
              <a:tr h="243628">
                <a:tc rowSpan="4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Claim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Currency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386264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Data As Of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3799114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End Date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716562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(for each of last 5 years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549855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18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810157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18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46987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6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716064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6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178368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CY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6046425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Frequency PY 5Y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816253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Global Practice Group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26862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ead/ Follow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3682702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ead/ Follow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333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ine of Business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053111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E Country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89636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ss Category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280259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ss Ratio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966342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ss Ratio (for each of last 5 years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425689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ss Ratio CY (In %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221350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Loss Ratio PY 5Y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744786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Premium CY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556400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Premium PY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401963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Premium PY 5Y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772451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Product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611673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Region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516896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gment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84437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gment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78725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18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873139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18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3929785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6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08159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6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15662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CY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127599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everity PY 5Y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08494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tart Date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85772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ub Line of Business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686944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Sub LoB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2752763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Total YTD Incurred LR 18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049801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Total YTD Incurred LR 18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9357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Total YTD Incurred LR 6M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1681540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Total YTD Incurred LR 6M Prior 5 Year Average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432277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Underwriting Year (last 5 years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020326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Underwriting Year LR (for each of last 5 years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051718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Underwriting Year/ Quarter (YTD and last 5 years)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0590723"/>
                  </a:ext>
                </a:extLst>
              </a:tr>
              <a:tr h="243628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ar Filter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rgbClr val="122B54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rgbClr val="122B54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rgbClr val="122B5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77201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CD7D9F3-0167-4FE9-9FE9-2D4FC2F35C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993662"/>
              </p:ext>
            </p:extLst>
          </p:nvPr>
        </p:nvGraphicFramePr>
        <p:xfrm>
          <a:off x="11502189" y="2592306"/>
          <a:ext cx="8423768" cy="1096327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27599">
                  <a:extLst>
                    <a:ext uri="{9D8B030D-6E8A-4147-A177-3AD203B41FA5}">
                      <a16:colId xmlns:a16="http://schemas.microsoft.com/office/drawing/2014/main" val="2814345862"/>
                    </a:ext>
                  </a:extLst>
                </a:gridCol>
                <a:gridCol w="3765696">
                  <a:extLst>
                    <a:ext uri="{9D8B030D-6E8A-4147-A177-3AD203B41FA5}">
                      <a16:colId xmlns:a16="http://schemas.microsoft.com/office/drawing/2014/main" val="3002145195"/>
                    </a:ext>
                  </a:extLst>
                </a:gridCol>
                <a:gridCol w="841069">
                  <a:extLst>
                    <a:ext uri="{9D8B030D-6E8A-4147-A177-3AD203B41FA5}">
                      <a16:colId xmlns:a16="http://schemas.microsoft.com/office/drawing/2014/main" val="1563139877"/>
                    </a:ext>
                  </a:extLst>
                </a:gridCol>
                <a:gridCol w="1357181">
                  <a:extLst>
                    <a:ext uri="{9D8B030D-6E8A-4147-A177-3AD203B41FA5}">
                      <a16:colId xmlns:a16="http://schemas.microsoft.com/office/drawing/2014/main" val="3379471649"/>
                    </a:ext>
                  </a:extLst>
                </a:gridCol>
                <a:gridCol w="1032223">
                  <a:extLst>
                    <a:ext uri="{9D8B030D-6E8A-4147-A177-3AD203B41FA5}">
                      <a16:colId xmlns:a16="http://schemas.microsoft.com/office/drawing/2014/main" val="280847040"/>
                    </a:ext>
                  </a:extLst>
                </a:gridCol>
              </a:tblGrid>
              <a:tr h="1636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Dashboar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KPI/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vailable?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Not required?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Unavailable?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7648075"/>
                  </a:ext>
                </a:extLst>
              </a:tr>
              <a:tr h="163631">
                <a:tc rowSpan="6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ccount I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420496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ccount Nam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00040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GCS Shar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642953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PTP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89328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AGCS Shar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28883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EPI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987662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Booked 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07762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Boun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01752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Business Typ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430013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Claim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290706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Currency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399712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Customer Nam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19608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Data As Of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044702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arned 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9661733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ffective Rate Chang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401718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nd Date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760925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PI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00002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PI Loss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9894822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PI of latest policy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567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xpiring Policies (policies up for renewal)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27261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xpiring Premium (premium up for renewal)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725359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Expiry Dat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30560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lobal Practice Group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65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lobal Practice Group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445856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N AGCS Share Premium Ban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40791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ross EPI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114849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ross Net EPI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860906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ross Net Loss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41076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ross Net Written 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6415522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Gross Written 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21446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Hit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392216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IIP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858193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Inception Dat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84652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Industry Cod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720023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ead/ Follow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774528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ead/ Follow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1569912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ine of Busines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39680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ine of Business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575993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OE Country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147533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oss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90141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LTA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670788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O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343009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olicy Count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12628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olicy Retention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200756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olicy Title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866247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ortfolio Segment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33879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137442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 Basis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878552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 Retention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28229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oduct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047400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Product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69428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Quote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7528800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Quote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3107389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AG Business Logic Statu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33595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egion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96231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egion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413281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enewed Polici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455784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enewed Premium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097765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Reported Loss Ratio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808223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Segment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066487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Start Date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285286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Sub Line of Busines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476198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Sub Line of Business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6058053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Total submission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974925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ar Filter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5699314"/>
                  </a:ext>
                </a:extLst>
              </a:tr>
              <a:tr h="163631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ar/ Timeperiod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0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0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03" marR="5203" marT="5203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27610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14663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778EA0-71E4-493F-8C7E-4B6116196F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958E5-DE85-4596-89AC-21FC5C079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CS current KPIs data availability</a:t>
            </a:r>
            <a:endParaRPr lang="en-DE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1486A95-39AF-466C-8EF7-6B37C1F7F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814311"/>
              </p:ext>
            </p:extLst>
          </p:nvPr>
        </p:nvGraphicFramePr>
        <p:xfrm>
          <a:off x="958848" y="2474723"/>
          <a:ext cx="8681674" cy="1092043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96901">
                  <a:extLst>
                    <a:ext uri="{9D8B030D-6E8A-4147-A177-3AD203B41FA5}">
                      <a16:colId xmlns:a16="http://schemas.microsoft.com/office/drawing/2014/main" val="1866532481"/>
                    </a:ext>
                  </a:extLst>
                </a:gridCol>
                <a:gridCol w="4335463">
                  <a:extLst>
                    <a:ext uri="{9D8B030D-6E8A-4147-A177-3AD203B41FA5}">
                      <a16:colId xmlns:a16="http://schemas.microsoft.com/office/drawing/2014/main" val="1818500210"/>
                    </a:ext>
                  </a:extLst>
                </a:gridCol>
                <a:gridCol w="910636">
                  <a:extLst>
                    <a:ext uri="{9D8B030D-6E8A-4147-A177-3AD203B41FA5}">
                      <a16:colId xmlns:a16="http://schemas.microsoft.com/office/drawing/2014/main" val="669132145"/>
                    </a:ext>
                  </a:extLst>
                </a:gridCol>
                <a:gridCol w="1221077">
                  <a:extLst>
                    <a:ext uri="{9D8B030D-6E8A-4147-A177-3AD203B41FA5}">
                      <a16:colId xmlns:a16="http://schemas.microsoft.com/office/drawing/2014/main" val="4166316201"/>
                    </a:ext>
                  </a:extLst>
                </a:gridCol>
                <a:gridCol w="1117597">
                  <a:extLst>
                    <a:ext uri="{9D8B030D-6E8A-4147-A177-3AD203B41FA5}">
                      <a16:colId xmlns:a16="http://schemas.microsoft.com/office/drawing/2014/main" val="1259040996"/>
                    </a:ext>
                  </a:extLst>
                </a:gridCol>
              </a:tblGrid>
              <a:tr h="206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Dashboard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KPI/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vailable?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Not required?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Unavailable?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304234"/>
                  </a:ext>
                </a:extLst>
              </a:tr>
              <a:tr h="206046">
                <a:tc rowSpan="5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Pricing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chieved Premium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660928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ctual Pric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6005455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P/ TP Plan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09932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P/ TP Plan CoC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24054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P/TP (CoC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125152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APT Tool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88236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Business Typ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636893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Contribution Margin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33083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Currency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0393227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Data As Of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376894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End Date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21171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Existing renewals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88918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Existing renewals premium/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61746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Expected Loss Ratio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951326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Exposur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0481716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Global Practice Group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86422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Gross Net Written Premium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4194987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HUB ID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335055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new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0915066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new premium/number of 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5811094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renewed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99367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renewed premium/number of 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7983196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total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81479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 force policies total premium/number of 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890577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Insured Nam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27409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Lapsed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784398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Lapsed premium/number of 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39512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Lead/ Follow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8283485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Line of Business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635445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LOE Country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526238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New policies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127505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New premium/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159817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Normalized loss ratio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3416337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Normalized Loss Ratio AY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39433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Plan loss ratio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558860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PLAN LR EXCL. ULAE C.A.Y.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9898669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Policy Count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61250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Product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947008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Region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448197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Renewal Effective Rate Chang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728596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Renewed policies (%) that were almost expiring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907126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Renewed premium/number of policies that were almost expiring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7471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Segment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63027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Start Date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106524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Sub Line of Business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616469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Technical Price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814294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Total not yet available for renewal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285933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Total premium/policies that are not yet available for renewal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9570623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Total renewals (%)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494362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Total renewals premium/polici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2292291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ar Filter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1621970"/>
                  </a:ext>
                </a:extLst>
              </a:tr>
              <a:tr h="206046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ar/ Timeperiod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2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2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03871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BDD0686-C860-4073-B4F0-EC18DBF2F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957668"/>
              </p:ext>
            </p:extLst>
          </p:nvPr>
        </p:nvGraphicFramePr>
        <p:xfrm>
          <a:off x="11493502" y="2474723"/>
          <a:ext cx="8563039" cy="109204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694285">
                  <a:extLst>
                    <a:ext uri="{9D8B030D-6E8A-4147-A177-3AD203B41FA5}">
                      <a16:colId xmlns:a16="http://schemas.microsoft.com/office/drawing/2014/main" val="2492503450"/>
                    </a:ext>
                  </a:extLst>
                </a:gridCol>
                <a:gridCol w="3740658">
                  <a:extLst>
                    <a:ext uri="{9D8B030D-6E8A-4147-A177-3AD203B41FA5}">
                      <a16:colId xmlns:a16="http://schemas.microsoft.com/office/drawing/2014/main" val="1891258850"/>
                    </a:ext>
                  </a:extLst>
                </a:gridCol>
                <a:gridCol w="1134290">
                  <a:extLst>
                    <a:ext uri="{9D8B030D-6E8A-4147-A177-3AD203B41FA5}">
                      <a16:colId xmlns:a16="http://schemas.microsoft.com/office/drawing/2014/main" val="3496860963"/>
                    </a:ext>
                  </a:extLst>
                </a:gridCol>
                <a:gridCol w="977234">
                  <a:extLst>
                    <a:ext uri="{9D8B030D-6E8A-4147-A177-3AD203B41FA5}">
                      <a16:colId xmlns:a16="http://schemas.microsoft.com/office/drawing/2014/main" val="1103773795"/>
                    </a:ext>
                  </a:extLst>
                </a:gridCol>
                <a:gridCol w="1016572">
                  <a:extLst>
                    <a:ext uri="{9D8B030D-6E8A-4147-A177-3AD203B41FA5}">
                      <a16:colId xmlns:a16="http://schemas.microsoft.com/office/drawing/2014/main" val="2480653690"/>
                    </a:ext>
                  </a:extLst>
                </a:gridCol>
              </a:tblGrid>
              <a:tr h="18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Dashboard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KPI/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vailable?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Not required?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Unavailable?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9829934"/>
                  </a:ext>
                </a:extLst>
              </a:tr>
              <a:tr h="182007">
                <a:tc rowSpan="59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Rate and Retention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3Y Total Incurred L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3154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ccount ID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418925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ccount Name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26840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 Tool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328560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After Renewal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224472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At Expiring Term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1196809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Band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38020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C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28389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P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65430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PTP Renewal - Renewal Term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6851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3Y Commission Ratio (in %)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41652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3Y Total Loss Ratio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77575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5Y Attr/ Med LR (in%)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93413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Average 5Y Commission Ratio (in %)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56691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Currency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896395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Data As Of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58835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Effective Rate Change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16286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End Date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814649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Expiring/Renewal term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6915797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Global Practice Group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904037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GNWP Booked C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95247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GNWP Booked PP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68698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GNWP Booked P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966559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Lead/ Follow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20320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Line of Business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09698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LOE Country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387609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Number of Lapsed Polici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3500039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Number Of New Business Polici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5598989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Number of Policies Up For Renewal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048066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Number of Renewed Polici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1768471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OE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058558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olicy Retention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4638331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4968601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 Retention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54789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remium Volume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62631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ricing Tool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791546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Product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52299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Region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86710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Renewed/Expired flag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297596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Segment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842804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Start Date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58397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Sub Line of Business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046493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Sub LoB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3068506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ar Filte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38739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Premium Lapsed Busines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2326771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Premium New Busines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80537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Premium Renewed Business At Expiring Term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3203932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Premium Renewed Business At Renewing Term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0108993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Premium Up for Renewal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471376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Renewal ERC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9357166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Renewal R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781363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Retention Ratio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566360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 RR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230986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P C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16518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APTP PY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695495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Lapsed APTP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983108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New Business APTP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594555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Renewal APTP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028906"/>
                  </a:ext>
                </a:extLst>
              </a:tr>
              <a:tr h="182007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TD Renewal ERC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Yes</a:t>
                      </a:r>
                      <a:endParaRPr lang="en-US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E" sz="1100" u="none" strike="noStrike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DE" sz="1100" b="0" i="0" u="none" strike="noStrike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33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44270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61BF4094-3494-4A3B-BD2F-2EFC81C2E9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61BF4094-3494-4A3B-BD2F-2EFC81C2E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EFF3AD77-EA6F-413A-9AA4-778B5C85742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58849" y="893369"/>
            <a:ext cx="16064842" cy="71814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>
                <a:latin typeface="Arial" panose="020B0604020202020204" pitchFamily="34" charset="0"/>
              </a:rPr>
              <a:t>Proposed</a:t>
            </a:r>
            <a:r>
              <a:rPr lang="en-US">
                <a:solidFill>
                  <a:schemeClr val="accent4"/>
                </a:solidFill>
                <a:latin typeface="Arial" panose="020B0604020202020204" pitchFamily="34" charset="0"/>
              </a:rPr>
              <a:t> global industry segmentation</a:t>
            </a:r>
            <a:r>
              <a:rPr lang="en-US">
                <a:latin typeface="Arial" panose="020B0604020202020204" pitchFamily="34" charset="0"/>
              </a:rPr>
              <a:t> </a:t>
            </a:r>
            <a:r>
              <a:rPr lang="en-US"/>
              <a:t>layer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FBE696A-80C6-4222-808F-A26FE7404541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958848" y="266701"/>
            <a:ext cx="7686676" cy="33855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None/>
            </a:pPr>
            <a:r>
              <a:rPr lang="en-US"/>
              <a:t>Global portfolio segmentation approach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9804EE3-6168-444E-8536-1D44FB798368}"/>
              </a:ext>
            </a:extLst>
          </p:cNvPr>
          <p:cNvCxnSpPr>
            <a:cxnSpLocks/>
          </p:cNvCxnSpPr>
          <p:nvPr/>
        </p:nvCxnSpPr>
        <p:spPr>
          <a:xfrm>
            <a:off x="958849" y="3676184"/>
            <a:ext cx="16064842" cy="0"/>
          </a:xfrm>
          <a:prstGeom prst="line">
            <a:avLst/>
          </a:prstGeom>
          <a:ln w="12700" cap="flat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5A11AA9-DA97-4FA7-8116-48FC81DC9C5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291814" y="3812675"/>
            <a:ext cx="5103288" cy="47705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5760" lvl="1" indent="-365760" algn="l" defTabSz="1828800" hangingPunct="1">
              <a:spcBef>
                <a:spcPts val="1200"/>
              </a:spcBef>
              <a:spcAft>
                <a:spcPts val="600"/>
              </a:spcAft>
            </a:pPr>
            <a:r>
              <a:rPr lang="en-US" sz="280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Splitting manufacturing and non-manufacturing </a:t>
            </a:r>
            <a:r>
              <a:rPr lang="en-US" sz="2800" b="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as driven by different perils (fire vs. water)</a:t>
            </a:r>
          </a:p>
          <a:p>
            <a:pPr marL="365760" lvl="1" indent="-365760" algn="l" defTabSz="1828800" hangingPunct="1">
              <a:spcBef>
                <a:spcPts val="1200"/>
              </a:spcBef>
              <a:spcAft>
                <a:spcPts val="600"/>
              </a:spcAft>
            </a:pPr>
            <a:r>
              <a:rPr lang="en-US" sz="280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Orientation on ISIC industry clusters </a:t>
            </a:r>
            <a:r>
              <a:rPr lang="en-US" sz="2800" b="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for easy </a:t>
            </a:r>
            <a:r>
              <a:rPr lang="en-US" sz="2800" b="0" kern="1200" err="1">
                <a:solidFill>
                  <a:srgbClr val="003781"/>
                </a:solidFill>
                <a:latin typeface="Arial"/>
                <a:ea typeface="+mn-ea"/>
                <a:cs typeface="+mn-cs"/>
              </a:rPr>
              <a:t>communi</a:t>
            </a:r>
            <a:r>
              <a:rPr lang="en-US" sz="2800" b="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-cation</a:t>
            </a:r>
          </a:p>
          <a:p>
            <a:pPr marL="365760" lvl="1" indent="-365760" algn="l" defTabSz="1828800" hangingPunct="1">
              <a:spcBef>
                <a:spcPts val="1200"/>
              </a:spcBef>
              <a:spcAft>
                <a:spcPts val="600"/>
              </a:spcAft>
            </a:pPr>
            <a:r>
              <a:rPr lang="en-US" sz="280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Splitting manufacturing industry clusters </a:t>
            </a:r>
            <a:r>
              <a:rPr lang="en-US" sz="2800" b="0" kern="1200">
                <a:solidFill>
                  <a:srgbClr val="003781"/>
                </a:solidFill>
                <a:latin typeface="Arial"/>
                <a:ea typeface="+mn-ea"/>
                <a:cs typeface="+mn-cs"/>
              </a:rPr>
              <a:t>based on large loss profile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4A8A8E4-7B29-4225-AFC2-6B12B06ED187}"/>
              </a:ext>
            </a:extLst>
          </p:cNvPr>
          <p:cNvSpPr txBox="1"/>
          <p:nvPr/>
        </p:nvSpPr>
        <p:spPr>
          <a:xfrm>
            <a:off x="18321866" y="2957675"/>
            <a:ext cx="510328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 defTabSz="1828800" hangingPunct="1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</a:pPr>
            <a:r>
              <a:rPr lang="en-US" sz="3600" kern="1200">
                <a:solidFill>
                  <a:srgbClr val="003781"/>
                </a:solidFill>
                <a:latin typeface="Arial"/>
                <a:ea typeface="+mn-ea"/>
              </a:rPr>
              <a:t>Segmentation rational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A1EAAEA-404C-46F8-B111-027381D77FDA}"/>
              </a:ext>
            </a:extLst>
          </p:cNvPr>
          <p:cNvSpPr txBox="1"/>
          <p:nvPr/>
        </p:nvSpPr>
        <p:spPr>
          <a:xfrm>
            <a:off x="9306965" y="2957674"/>
            <a:ext cx="7716726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 defTabSz="1828800" hangingPunct="1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</a:pPr>
            <a:r>
              <a:rPr lang="en-US" sz="3600" kern="1200">
                <a:solidFill>
                  <a:srgbClr val="003781"/>
                </a:solidFill>
                <a:latin typeface="Arial"/>
                <a:ea typeface="+mn-ea"/>
              </a:rPr>
              <a:t>Non-industry cluster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10589BE-A8E0-4E9F-9A0B-1D37E4E4EBA2}"/>
              </a:ext>
            </a:extLst>
          </p:cNvPr>
          <p:cNvSpPr txBox="1">
            <a:spLocks/>
          </p:cNvSpPr>
          <p:nvPr/>
        </p:nvSpPr>
        <p:spPr>
          <a:xfrm>
            <a:off x="958848" y="2957675"/>
            <a:ext cx="771672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 defTabSz="1828800" hangingPunct="1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</a:pPr>
            <a:r>
              <a:rPr lang="en-US" sz="3600" kern="1200">
                <a:solidFill>
                  <a:srgbClr val="003781"/>
                </a:solidFill>
                <a:latin typeface="Arial"/>
                <a:ea typeface="+mn-ea"/>
              </a:rPr>
              <a:t>Industry/Manufacturing cluste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EE85568-EC90-49E2-A828-64806415CCE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58848" y="3812674"/>
            <a:ext cx="7716728" cy="861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1 Food: Dairy, sweets, drink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2 Food: Meat &amp; grocery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3 Basic metals casting &amp; forging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4 Fabricated metal product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5 Electrics &amp; electronic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6 Plastics &amp; Rubber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7 Chemicals &amp; Pharma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8 Textile &amp; Tobacco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F-9 Wood products &amp; paper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Construction &amp; material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Electricity &amp; water supply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Mining &amp; quarrying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Transportation &amp; storage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Waste management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Other manufacturing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3DC9E07-807B-444E-8E5F-ADBC21C205C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276913" y="3812675"/>
            <a:ext cx="7716726" cy="861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solidFill>
                  <a:schemeClr val="bg1"/>
                </a:solidFill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>
                <a:solidFill>
                  <a:schemeClr val="bg1"/>
                </a:solidFill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Symbol" panose="05050102010706020507" pitchFamily="18" charset="2"/>
              <a:buChar char="-"/>
              <a:defRPr lang="en-US" sz="1600" dirty="0">
                <a:solidFill>
                  <a:schemeClr val="bg1"/>
                </a:solidFill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Accommodation &amp; food service activiti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Agriculture, forestry &amp; fishing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Arts, entertainment &amp; recreation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Churches &amp; related activiti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Education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Elderly &amp; social care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Financial &amp; insurance activiti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Hospitals &amp; medical servic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Professional &amp; administrative servic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Public administration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Real estate activiti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Wholesale &amp; Retail-A Shopping center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Wholesale &amp; Retail-B Auto &amp; services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Wholesale &amp; Retail-C Consumer &amp; wholesale</a:t>
            </a:r>
          </a:p>
          <a:p>
            <a:pPr marL="365760" lvl="1" indent="-365760" algn="l" defTabSz="1828800" hangingPunct="1">
              <a:spcBef>
                <a:spcPts val="600"/>
              </a:spcBef>
              <a:spcAft>
                <a:spcPts val="600"/>
              </a:spcAft>
            </a:pPr>
            <a:r>
              <a:rPr lang="en-US" sz="2800" b="0" kern="1200">
                <a:solidFill>
                  <a:srgbClr val="003781"/>
                </a:solidFill>
                <a:latin typeface="Arial" panose="020B0604020202020204" pitchFamily="34" charset="0"/>
                <a:ea typeface="+mn-ea"/>
                <a:cs typeface="+mn-cs"/>
                <a:sym typeface=""/>
              </a:rPr>
              <a:t>Other service activities</a:t>
            </a:r>
          </a:p>
        </p:txBody>
      </p:sp>
    </p:spTree>
    <p:extLst>
      <p:ext uri="{BB962C8B-B14F-4D97-AF65-F5344CB8AC3E}">
        <p14:creationId xmlns:p14="http://schemas.microsoft.com/office/powerpoint/2010/main" val="23363422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4A817E4-52F2-465E-B6BF-E8C669B8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3" y="978593"/>
            <a:ext cx="19976093" cy="1774134"/>
          </a:xfrm>
        </p:spPr>
        <p:txBody>
          <a:bodyPr/>
          <a:lstStyle/>
          <a:p>
            <a:r>
              <a:rPr lang="en-US" noProof="0"/>
              <a:t>Available </a:t>
            </a:r>
            <a:r>
              <a:rPr lang="en-US">
                <a:solidFill>
                  <a:srgbClr val="13A0D3"/>
                </a:solidFill>
              </a:rPr>
              <a:t>Business KPIs</a:t>
            </a:r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8C1550A-2F41-4FBE-AB88-F739E650F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849" y="2752727"/>
            <a:ext cx="22466302" cy="9578974"/>
          </a:xfrm>
        </p:spPr>
        <p:txBody>
          <a:bodyPr/>
          <a:lstStyle/>
          <a:p>
            <a:r>
              <a:rPr lang="en-US" sz="2400" noProof="0"/>
              <a:t>List of KPIs and </a:t>
            </a:r>
            <a:r>
              <a:rPr lang="en-US" sz="2400"/>
              <a:t>insights </a:t>
            </a:r>
            <a:r>
              <a:rPr lang="en-US" sz="2400" noProof="0"/>
              <a:t>included:</a:t>
            </a:r>
          </a:p>
          <a:p>
            <a:endParaRPr lang="en-US" sz="2400"/>
          </a:p>
          <a:p>
            <a:r>
              <a:rPr lang="en-US" sz="2400" noProof="0"/>
              <a:t>Tab 1: Premium Development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/>
              <a:t>GWP split in UW year &amp; Accident year (option to have multiple years cumulative)</a:t>
            </a:r>
            <a:endParaRPr lang="en-US" sz="2400">
              <a:cs typeface="Arial" panose="020B0604020202020204"/>
            </a:endParaRPr>
          </a:p>
          <a:p>
            <a:pPr marL="342900" lvl="1" indent="-342900">
              <a:buFont typeface="Arial"/>
              <a:buChar char="•"/>
            </a:pPr>
            <a:r>
              <a:rPr lang="en-US" sz="2400"/>
              <a:t>net increase in GWP split in UW year &amp; Accident year (option to have multiple years cumulative)</a:t>
            </a:r>
            <a:endParaRPr lang="en-US" sz="2400">
              <a:cs typeface="Arial" panose="020B0604020202020204"/>
            </a:endParaRPr>
          </a:p>
          <a:p>
            <a:endParaRPr lang="en-US" sz="2400" noProof="0"/>
          </a:p>
          <a:p>
            <a:r>
              <a:rPr lang="en-US" sz="2400"/>
              <a:t>Tab 2: Claim Development</a:t>
            </a:r>
            <a:endParaRPr lang="en-US" sz="2400">
              <a:cs typeface="Arial" panose="020B0604020202020204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cs typeface="Arial" panose="020B0604020202020204"/>
              </a:rPr>
              <a:t>Severity and Frequency split </a:t>
            </a:r>
            <a:r>
              <a:rPr lang="en-US" sz="2400">
                <a:ea typeface="+mn-lt"/>
                <a:cs typeface="+mn-lt"/>
              </a:rPr>
              <a:t>in UW year &amp; Accident year</a:t>
            </a:r>
            <a:endParaRPr lang="en-US" sz="2400">
              <a:cs typeface="Arial" panose="020B0604020202020204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loss ratio split in industry cluster</a:t>
            </a:r>
          </a:p>
          <a:p>
            <a:pPr marL="342900" indent="-34290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loss ratio split in UW year &amp; Accident year (option to have multiple years cumulative)</a:t>
            </a:r>
            <a:endParaRPr lang="en-US">
              <a:cs typeface="Arial" panose="020B0604020202020204"/>
            </a:endParaRPr>
          </a:p>
          <a:p>
            <a:endParaRPr lang="en-US" sz="2400"/>
          </a:p>
          <a:p>
            <a:r>
              <a:rPr lang="en-US" sz="2400" noProof="0"/>
              <a:t>Tab </a:t>
            </a:r>
            <a:r>
              <a:rPr lang="en-US" sz="2400"/>
              <a:t>3</a:t>
            </a:r>
            <a:r>
              <a:rPr lang="en-US" sz="2400" noProof="0"/>
              <a:t>: Portfolio Performance</a:t>
            </a:r>
            <a:endParaRPr lang="en-US" sz="2400" noProof="0">
              <a:cs typeface="Arial"/>
            </a:endParaRPr>
          </a:p>
          <a:p>
            <a:pPr marL="342900" lvl="1" indent="-342900">
              <a:buFont typeface="Arial"/>
              <a:buChar char="•"/>
            </a:pPr>
            <a:r>
              <a:rPr lang="en-US" sz="2400"/>
              <a:t>loss ratio split in UW year &amp; Accident year (option to have multiple years cumulative)</a:t>
            </a:r>
            <a:endParaRPr lang="en-US" sz="2400">
              <a:cs typeface="Arial" panose="020B0604020202020204"/>
            </a:endParaRPr>
          </a:p>
          <a:p>
            <a:pPr marL="342900" lvl="1" indent="-342900">
              <a:buFont typeface="Arial"/>
              <a:buChar char="•"/>
            </a:pPr>
            <a:r>
              <a:rPr lang="en-US" sz="2400"/>
              <a:t>average portfolio loss ratio benchmark split in UW year &amp; Accident </a:t>
            </a:r>
            <a:endParaRPr lang="en-US" sz="2400">
              <a:cs typeface="Arial" panose="020B0604020202020204"/>
            </a:endParaRPr>
          </a:p>
          <a:p>
            <a:pPr marL="0" lvl="1" indent="0">
              <a:buNone/>
            </a:pPr>
            <a:endParaRPr lang="en-US" sz="2400"/>
          </a:p>
          <a:p>
            <a:pPr marL="0" lvl="1" indent="0">
              <a:buNone/>
            </a:pPr>
            <a:r>
              <a:rPr lang="en-US" sz="2400"/>
              <a:t>Tab 4: Exposure &amp; Accumulation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/>
              <a:t>Minimum, Maximum and Average Sum Insured for Property policies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/>
              <a:t>Minimum, Maximum and Average Gross Limit for Liability policies</a:t>
            </a:r>
            <a:endParaRPr lang="en-US" sz="2400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 sz="2400">
              <a:cs typeface="Arial" panose="020B0604020202020204"/>
            </a:endParaRPr>
          </a:p>
          <a:p>
            <a:pPr marL="0" lvl="1" indent="0">
              <a:buNone/>
            </a:pPr>
            <a:r>
              <a:rPr lang="en-US" sz="2400"/>
              <a:t>Tab 5: Customer Profile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/>
              <a:t>Company holding structure hierarchy</a:t>
            </a:r>
            <a:endParaRPr lang="en-US" sz="2400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 sz="2400">
              <a:cs typeface="Arial" panose="020B0604020202020204"/>
            </a:endParaRPr>
          </a:p>
          <a:p>
            <a:pPr marL="0" lvl="1" indent="0">
              <a:buNone/>
            </a:pPr>
            <a:r>
              <a:rPr lang="en-US" sz="2400"/>
              <a:t>Tab 6: Data Summary</a:t>
            </a:r>
          </a:p>
          <a:p>
            <a:pPr marL="0" lvl="1" indent="0">
              <a:buNone/>
            </a:pPr>
            <a:endParaRPr lang="en-US" sz="3000"/>
          </a:p>
          <a:p>
            <a:pPr marL="0" lvl="1" indent="0">
              <a:buNone/>
            </a:pPr>
            <a:endParaRPr lang="en-US" sz="3000"/>
          </a:p>
          <a:p>
            <a:pPr marL="0" lvl="1" indent="0">
              <a:buNone/>
            </a:pPr>
            <a:endParaRPr lang="en-US" sz="3000"/>
          </a:p>
          <a:p>
            <a:pPr marL="0" lvl="1" indent="0">
              <a:buNone/>
            </a:pPr>
            <a:endParaRPr lang="en-US" sz="3000" noProof="0"/>
          </a:p>
          <a:p>
            <a:pPr marL="571500" lvl="1" indent="-571500">
              <a:buFont typeface="Arial" panose="020B0604020202020204" pitchFamily="34" charset="0"/>
              <a:buChar char="•"/>
            </a:pPr>
            <a:endParaRPr lang="en-US" sz="3000" noProof="0"/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 sz="3000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 sz="3000" noProof="0">
              <a:cs typeface="Arial" panose="020B0604020202020204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E28CDE-B077-4102-BD46-8FEF4C2D7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2887161" y="12744000"/>
            <a:ext cx="537990" cy="288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168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4A817E4-52F2-465E-B6BF-E8C669B8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4" y="978593"/>
            <a:ext cx="18649948" cy="1774134"/>
          </a:xfrm>
        </p:spPr>
        <p:txBody>
          <a:bodyPr/>
          <a:lstStyle/>
          <a:p>
            <a:r>
              <a:rPr lang="en-US" noProof="0"/>
              <a:t>ALEX Dashboard</a:t>
            </a:r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8C1550A-2F41-4FBE-AB88-F739E650F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849" y="2752727"/>
            <a:ext cx="22466302" cy="9578974"/>
          </a:xfrm>
        </p:spPr>
        <p:txBody>
          <a:bodyPr/>
          <a:lstStyle/>
          <a:p>
            <a:r>
              <a:rPr lang="en-US"/>
              <a:t>The upcoming version draws heavily on the MVP1 dashboard, the Exposure requirements from Group Risk and the </a:t>
            </a:r>
            <a:r>
              <a:rPr lang="de-DE"/>
              <a:t>Global Portfolio Monitoring Dashboard </a:t>
            </a:r>
            <a:r>
              <a:rPr lang="de-DE" err="1"/>
              <a:t>us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en-US"/>
              <a:t>AGCS. This set of dashboard will require a supporting set of consumption layer data table views as data input.</a:t>
            </a:r>
            <a:endParaRPr lang="en-US" noProof="0">
              <a:cs typeface="Arial"/>
            </a:endParaRPr>
          </a:p>
          <a:p>
            <a:endParaRPr lang="en-US" noProof="0"/>
          </a:p>
          <a:p>
            <a:r>
              <a:rPr lang="en-US"/>
              <a:t>This set of design covers 6 dashboard pages showing:</a:t>
            </a:r>
            <a:endParaRPr lang="en-US" noProof="0">
              <a:cs typeface="Arial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Premium Development</a:t>
            </a:r>
            <a:endParaRPr lang="en-US">
              <a:cs typeface="Arial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>
                <a:cs typeface="Arial"/>
              </a:rPr>
              <a:t>Claim Development</a:t>
            </a: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/>
              <a:t>Portfolio Performance</a:t>
            </a:r>
            <a:endParaRPr lang="en-US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/>
              <a:t>Exposure &amp; Accumulation </a:t>
            </a:r>
            <a:endParaRPr lang="en-US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/>
              <a:t>Customer Profile</a:t>
            </a:r>
            <a:endParaRPr lang="en-US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r>
              <a:rPr lang="en-US"/>
              <a:t>Data Summary</a:t>
            </a:r>
            <a:endParaRPr lang="en-US">
              <a:cs typeface="Arial" panose="020B0604020202020204"/>
            </a:endParaRPr>
          </a:p>
          <a:p>
            <a:pPr marL="0" lvl="1" indent="0">
              <a:buNone/>
            </a:pPr>
            <a:endParaRPr lang="en-US">
              <a:cs typeface="Arial" panose="020B0604020202020204"/>
            </a:endParaRPr>
          </a:p>
          <a:p>
            <a:pPr marL="0" lvl="1" indent="0">
              <a:buNone/>
            </a:pPr>
            <a:endParaRPr lang="en-US" noProof="0"/>
          </a:p>
          <a:p>
            <a:pPr marL="571500" lvl="1" indent="-571500">
              <a:buFont typeface="Arial" panose="020B0604020202020204" pitchFamily="34" charset="0"/>
              <a:buChar char="•"/>
            </a:pPr>
            <a:endParaRPr lang="en-US" noProof="0"/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>
              <a:cs typeface="Arial" panose="020B0604020202020204"/>
            </a:endParaRPr>
          </a:p>
          <a:p>
            <a:pPr marL="575945" lvl="1" indent="-575945">
              <a:buFont typeface="Arial" panose="020B0604020202020204" pitchFamily="34" charset="0"/>
              <a:buChar char="•"/>
            </a:pPr>
            <a:endParaRPr lang="en-US" noProof="0">
              <a:cs typeface="Arial" panose="020B0604020202020204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E28CDE-B077-4102-BD46-8FEF4C2D7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2887161" y="12744000"/>
            <a:ext cx="537990" cy="288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453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4A817E4-52F2-465E-B6BF-E8C669B8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53" y="978593"/>
            <a:ext cx="19976093" cy="1774134"/>
          </a:xfrm>
        </p:spPr>
        <p:txBody>
          <a:bodyPr/>
          <a:lstStyle/>
          <a:p>
            <a:r>
              <a:rPr lang="en-US" noProof="0"/>
              <a:t>Available </a:t>
            </a:r>
            <a:r>
              <a:rPr lang="en-US" noProof="0">
                <a:solidFill>
                  <a:srgbClr val="13A0D3"/>
                </a:solidFill>
              </a:rPr>
              <a:t>F</a:t>
            </a:r>
            <a:r>
              <a:rPr lang="en-US" err="1">
                <a:solidFill>
                  <a:srgbClr val="13A0D3"/>
                </a:solidFill>
              </a:rPr>
              <a:t>ilters</a:t>
            </a:r>
            <a:endParaRPr lang="en-US">
              <a:solidFill>
                <a:srgbClr val="13A0D3"/>
              </a:solidFill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8C1550A-2F41-4FBE-AB88-F739E650F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849" y="2752727"/>
            <a:ext cx="22466302" cy="9578974"/>
          </a:xfrm>
        </p:spPr>
        <p:txBody>
          <a:bodyPr/>
          <a:lstStyle/>
          <a:p>
            <a:r>
              <a:rPr lang="en-US" noProof="0"/>
              <a:t>Portfolio segmentations available for analysis include the following:</a:t>
            </a:r>
          </a:p>
          <a:p>
            <a:endParaRPr lang="en-US"/>
          </a:p>
          <a:p>
            <a:pPr marL="0" lvl="1" indent="0">
              <a:buNone/>
            </a:pPr>
            <a:endParaRPr lang="en-US"/>
          </a:p>
          <a:p>
            <a:pPr marL="0" lvl="1" indent="0">
              <a:buNone/>
            </a:pPr>
            <a:endParaRPr lang="en-US" noProof="0"/>
          </a:p>
          <a:p>
            <a:pPr marL="571500" lvl="1" indent="-571500">
              <a:buFont typeface="Arial" panose="020B0604020202020204" pitchFamily="34" charset="0"/>
              <a:buChar char="•"/>
            </a:pPr>
            <a:endParaRPr lang="en-US" noProof="0"/>
          </a:p>
          <a:p>
            <a:pPr lvl="1">
              <a:buFont typeface="Arial" panose="020B0604020202020204" pitchFamily="34" charset="0"/>
              <a:buChar char="•"/>
            </a:pPr>
            <a:endParaRPr lang="en-US"/>
          </a:p>
          <a:p>
            <a:pPr lvl="1">
              <a:buFont typeface="Arial" panose="020B0604020202020204" pitchFamily="34" charset="0"/>
              <a:buChar char="•"/>
            </a:pP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E28CDE-B077-4102-BD46-8FEF4C2D7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2887161" y="12744000"/>
            <a:ext cx="537990" cy="288000"/>
          </a:xfrm>
        </p:spPr>
        <p:txBody>
          <a:bodyPr/>
          <a:lstStyle/>
          <a:p>
            <a:fld id="{56C449F3-BD9D-48DC-BFF1-0F66671DA7C6}" type="slidenum">
              <a:rPr lang="en-US" smtClean="0"/>
              <a:pPr/>
              <a:t>29</a:t>
            </a:fld>
            <a:endParaRPr lang="en-US"/>
          </a:p>
        </p:txBody>
      </p:sp>
      <p:grpSp>
        <p:nvGrpSpPr>
          <p:cNvPr id="8" name="Gruppieren 32">
            <a:extLst>
              <a:ext uri="{FF2B5EF4-FFF2-40B4-BE49-F238E27FC236}">
                <a16:creationId xmlns:a16="http://schemas.microsoft.com/office/drawing/2014/main" id="{A401CC4C-6FD9-D1BE-1B97-D395BA35485F}"/>
              </a:ext>
            </a:extLst>
          </p:cNvPr>
          <p:cNvGrpSpPr/>
          <p:nvPr/>
        </p:nvGrpSpPr>
        <p:grpSpPr>
          <a:xfrm>
            <a:off x="4981779" y="3784196"/>
            <a:ext cx="4162637" cy="930657"/>
            <a:chOff x="543123" y="1153293"/>
            <a:chExt cx="4309574" cy="965516"/>
          </a:xfrm>
        </p:grpSpPr>
        <p:pic>
          <p:nvPicPr>
            <p:cNvPr id="9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B9EF0765-A9E2-1D86-CC56-EDF4FD8B7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" name="OE Name">
              <a:extLst>
                <a:ext uri="{FF2B5EF4-FFF2-40B4-BE49-F238E27FC236}">
                  <a16:creationId xmlns:a16="http://schemas.microsoft.com/office/drawing/2014/main" id="{F04A5816-2705-794B-3B09-FFA2353138E0}"/>
                </a:ext>
              </a:extLst>
            </p:cNvPr>
            <p:cNvSpPr txBox="1"/>
            <p:nvPr/>
          </p:nvSpPr>
          <p:spPr>
            <a:xfrm>
              <a:off x="757227" y="1153293"/>
              <a:ext cx="1940683" cy="38038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LoB</a:t>
              </a:r>
              <a:endParaRPr sz="1800"/>
            </a:p>
          </p:txBody>
        </p:sp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7C3B1351-8A1B-5F02-C56E-2E63A57A6350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12" name="All">
              <a:extLst>
                <a:ext uri="{FF2B5EF4-FFF2-40B4-BE49-F238E27FC236}">
                  <a16:creationId xmlns:a16="http://schemas.microsoft.com/office/drawing/2014/main" id="{E4201644-1E56-F4F6-4BBE-F4B365687DC4}"/>
                </a:ext>
              </a:extLst>
            </p:cNvPr>
            <p:cNvSpPr txBox="1"/>
            <p:nvPr/>
          </p:nvSpPr>
          <p:spPr>
            <a:xfrm>
              <a:off x="791887" y="1520125"/>
              <a:ext cx="1940683" cy="38038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/>
                <a:t>All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5C4F1D7-EDF3-9555-1C77-100156AF5DD2}"/>
              </a:ext>
            </a:extLst>
          </p:cNvPr>
          <p:cNvSpPr/>
          <p:nvPr/>
        </p:nvSpPr>
        <p:spPr>
          <a:xfrm>
            <a:off x="5175576" y="4799520"/>
            <a:ext cx="3968840" cy="1552477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roperty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iability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struction 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Engineering</a:t>
            </a:r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pSp>
        <p:nvGrpSpPr>
          <p:cNvPr id="13" name="Gruppieren 31">
            <a:extLst>
              <a:ext uri="{FF2B5EF4-FFF2-40B4-BE49-F238E27FC236}">
                <a16:creationId xmlns:a16="http://schemas.microsoft.com/office/drawing/2014/main" id="{BBC84A7A-F8EB-8DAA-006B-4E2BD8CF25AE}"/>
              </a:ext>
            </a:extLst>
          </p:cNvPr>
          <p:cNvGrpSpPr/>
          <p:nvPr/>
        </p:nvGrpSpPr>
        <p:grpSpPr>
          <a:xfrm>
            <a:off x="9138838" y="3744235"/>
            <a:ext cx="4162637" cy="971546"/>
            <a:chOff x="5140876" y="1097296"/>
            <a:chExt cx="4309574" cy="1005841"/>
          </a:xfrm>
        </p:grpSpPr>
        <p:pic>
          <p:nvPicPr>
            <p:cNvPr id="1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35A8A60-448B-E830-0908-E5F753449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5" name="OE Name">
              <a:extLst>
                <a:ext uri="{FF2B5EF4-FFF2-40B4-BE49-F238E27FC236}">
                  <a16:creationId xmlns:a16="http://schemas.microsoft.com/office/drawing/2014/main" id="{2959D9DD-BC89-B828-6442-0E91700800B4}"/>
                </a:ext>
              </a:extLst>
            </p:cNvPr>
            <p:cNvSpPr txBox="1"/>
            <p:nvPr/>
          </p:nvSpPr>
          <p:spPr>
            <a:xfrm>
              <a:off x="5354980" y="1097296"/>
              <a:ext cx="2626757" cy="3929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Industry Segment</a:t>
              </a:r>
              <a:endParaRPr sz="1800"/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DE470631-6957-2A00-5F32-D58B2045E76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17" name="All">
              <a:extLst>
                <a:ext uri="{FF2B5EF4-FFF2-40B4-BE49-F238E27FC236}">
                  <a16:creationId xmlns:a16="http://schemas.microsoft.com/office/drawing/2014/main" id="{1D762B4F-9E1B-05B0-A4A8-B6FD03AB10A7}"/>
                </a:ext>
              </a:extLst>
            </p:cNvPr>
            <p:cNvSpPr txBox="1"/>
            <p:nvPr/>
          </p:nvSpPr>
          <p:spPr>
            <a:xfrm>
              <a:off x="5389640" y="1504849"/>
              <a:ext cx="1940683" cy="3795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/>
                <a:t>All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1D3D09A-EACF-DB7D-CF7F-EEE15F533886}"/>
              </a:ext>
            </a:extLst>
          </p:cNvPr>
          <p:cNvSpPr/>
          <p:nvPr/>
        </p:nvSpPr>
        <p:spPr>
          <a:xfrm>
            <a:off x="9379120" y="4771710"/>
            <a:ext cx="3968840" cy="1552477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dustry/Manufacturing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on-industry</a:t>
            </a:r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pSp>
        <p:nvGrpSpPr>
          <p:cNvPr id="18" name="Gruppieren 30">
            <a:extLst>
              <a:ext uri="{FF2B5EF4-FFF2-40B4-BE49-F238E27FC236}">
                <a16:creationId xmlns:a16="http://schemas.microsoft.com/office/drawing/2014/main" id="{2123415A-F564-6F17-27D4-0515E5EB6DE4}"/>
              </a:ext>
            </a:extLst>
          </p:cNvPr>
          <p:cNvGrpSpPr/>
          <p:nvPr/>
        </p:nvGrpSpPr>
        <p:grpSpPr>
          <a:xfrm>
            <a:off x="13344023" y="3783503"/>
            <a:ext cx="4162637" cy="932214"/>
            <a:chOff x="9952733" y="1138017"/>
            <a:chExt cx="4309574" cy="965120"/>
          </a:xfrm>
        </p:grpSpPr>
        <p:pic>
          <p:nvPicPr>
            <p:cNvPr id="19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94928F94-44B9-F901-4484-9DC195BF2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0" name="OE Name">
              <a:extLst>
                <a:ext uri="{FF2B5EF4-FFF2-40B4-BE49-F238E27FC236}">
                  <a16:creationId xmlns:a16="http://schemas.microsoft.com/office/drawing/2014/main" id="{CA48802E-76E4-70A5-3164-889D6FC8DED8}"/>
                </a:ext>
              </a:extLst>
            </p:cNvPr>
            <p:cNvSpPr txBox="1"/>
            <p:nvPr/>
          </p:nvSpPr>
          <p:spPr>
            <a:xfrm>
              <a:off x="10166837" y="1138017"/>
              <a:ext cx="1940683" cy="379591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Industry Cluster</a:t>
              </a:r>
              <a:endParaRPr sz="1800"/>
            </a:p>
          </p:txBody>
        </p:sp>
        <p:sp>
          <p:nvSpPr>
            <p:cNvPr id="21" name="Rectangle">
              <a:extLst>
                <a:ext uri="{FF2B5EF4-FFF2-40B4-BE49-F238E27FC236}">
                  <a16:creationId xmlns:a16="http://schemas.microsoft.com/office/drawing/2014/main" id="{BDADC983-ED0F-5CEC-0700-E88D302FC8C2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22" name="All">
              <a:extLst>
                <a:ext uri="{FF2B5EF4-FFF2-40B4-BE49-F238E27FC236}">
                  <a16:creationId xmlns:a16="http://schemas.microsoft.com/office/drawing/2014/main" id="{6044C89B-173D-F37F-4608-A6A639525569}"/>
                </a:ext>
              </a:extLst>
            </p:cNvPr>
            <p:cNvSpPr txBox="1"/>
            <p:nvPr/>
          </p:nvSpPr>
          <p:spPr>
            <a:xfrm>
              <a:off x="10201497" y="1504849"/>
              <a:ext cx="1940683" cy="3795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/>
                <a:t>All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A458D5CC-AFD8-CB14-84DE-C78A1E1FD018}"/>
              </a:ext>
            </a:extLst>
          </p:cNvPr>
          <p:cNvSpPr/>
          <p:nvPr/>
        </p:nvSpPr>
        <p:spPr>
          <a:xfrm>
            <a:off x="13584305" y="4769834"/>
            <a:ext cx="3968840" cy="1552476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30 clusters segments </a:t>
            </a:r>
            <a:b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see Appendix for more details)</a:t>
            </a:r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pSp>
        <p:nvGrpSpPr>
          <p:cNvPr id="23" name="Gruppieren 29">
            <a:extLst>
              <a:ext uri="{FF2B5EF4-FFF2-40B4-BE49-F238E27FC236}">
                <a16:creationId xmlns:a16="http://schemas.microsoft.com/office/drawing/2014/main" id="{D33AFCCF-679E-C637-EC77-B294B5677DE4}"/>
              </a:ext>
            </a:extLst>
          </p:cNvPr>
          <p:cNvGrpSpPr/>
          <p:nvPr/>
        </p:nvGrpSpPr>
        <p:grpSpPr>
          <a:xfrm>
            <a:off x="17549207" y="3783503"/>
            <a:ext cx="4162637" cy="932214"/>
            <a:chOff x="14684786" y="1160735"/>
            <a:chExt cx="4309574" cy="965120"/>
          </a:xfrm>
        </p:grpSpPr>
        <p:pic>
          <p:nvPicPr>
            <p:cNvPr id="2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F647F6FE-CC80-6FB2-08BC-0018EA520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5" name="OE Name">
              <a:extLst>
                <a:ext uri="{FF2B5EF4-FFF2-40B4-BE49-F238E27FC236}">
                  <a16:creationId xmlns:a16="http://schemas.microsoft.com/office/drawing/2014/main" id="{3E7195DB-C57F-097F-1791-3F1E27A44646}"/>
                </a:ext>
              </a:extLst>
            </p:cNvPr>
            <p:cNvSpPr txBox="1"/>
            <p:nvPr/>
          </p:nvSpPr>
          <p:spPr>
            <a:xfrm>
              <a:off x="14898890" y="1160735"/>
              <a:ext cx="1940683" cy="379591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Loss Type</a:t>
              </a:r>
              <a:endParaRPr sz="1800"/>
            </a:p>
          </p:txBody>
        </p:sp>
        <p:sp>
          <p:nvSpPr>
            <p:cNvPr id="26" name="Rectangle">
              <a:extLst>
                <a:ext uri="{FF2B5EF4-FFF2-40B4-BE49-F238E27FC236}">
                  <a16:creationId xmlns:a16="http://schemas.microsoft.com/office/drawing/2014/main" id="{C79FD174-6F72-29DB-3AB3-1648CFFC5EF2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27" name="All">
              <a:extLst>
                <a:ext uri="{FF2B5EF4-FFF2-40B4-BE49-F238E27FC236}">
                  <a16:creationId xmlns:a16="http://schemas.microsoft.com/office/drawing/2014/main" id="{90130908-BA7E-BF76-B765-D4AFFE31D405}"/>
                </a:ext>
              </a:extLst>
            </p:cNvPr>
            <p:cNvSpPr txBox="1"/>
            <p:nvPr/>
          </p:nvSpPr>
          <p:spPr>
            <a:xfrm>
              <a:off x="14933550" y="1527567"/>
              <a:ext cx="1940683" cy="3795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/>
                <a:t>All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4DB54ADE-9C75-E652-A9D3-4F38F4E8BF65}"/>
              </a:ext>
            </a:extLst>
          </p:cNvPr>
          <p:cNvSpPr/>
          <p:nvPr/>
        </p:nvSpPr>
        <p:spPr>
          <a:xfrm>
            <a:off x="17789488" y="4769834"/>
            <a:ext cx="3968840" cy="1552476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ttritional &lt;1 million</a:t>
            </a: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id &gt;1 million and &lt;5 million</a:t>
            </a: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arge &gt;5 million</a:t>
            </a:r>
          </a:p>
        </p:txBody>
      </p:sp>
      <p:grpSp>
        <p:nvGrpSpPr>
          <p:cNvPr id="29" name="Gruppieren 32">
            <a:extLst>
              <a:ext uri="{FF2B5EF4-FFF2-40B4-BE49-F238E27FC236}">
                <a16:creationId xmlns:a16="http://schemas.microsoft.com/office/drawing/2014/main" id="{73D2D91E-F04C-4D30-AC3C-2F6699EFE66F}"/>
              </a:ext>
            </a:extLst>
          </p:cNvPr>
          <p:cNvGrpSpPr/>
          <p:nvPr/>
        </p:nvGrpSpPr>
        <p:grpSpPr>
          <a:xfrm>
            <a:off x="824720" y="3784527"/>
            <a:ext cx="4162637" cy="930657"/>
            <a:chOff x="543123" y="1153293"/>
            <a:chExt cx="4309574" cy="965516"/>
          </a:xfrm>
        </p:grpSpPr>
        <p:pic>
          <p:nvPicPr>
            <p:cNvPr id="30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A9D0281-9D43-4BCA-A1E8-08035F3F98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1" name="OE Name">
              <a:extLst>
                <a:ext uri="{FF2B5EF4-FFF2-40B4-BE49-F238E27FC236}">
                  <a16:creationId xmlns:a16="http://schemas.microsoft.com/office/drawing/2014/main" id="{47C415CF-4AA8-4384-BC27-B624921EB40F}"/>
                </a:ext>
              </a:extLst>
            </p:cNvPr>
            <p:cNvSpPr txBox="1"/>
            <p:nvPr/>
          </p:nvSpPr>
          <p:spPr>
            <a:xfrm>
              <a:off x="757227" y="1153293"/>
              <a:ext cx="1940683" cy="38038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OE</a:t>
              </a:r>
              <a:endParaRPr sz="1800"/>
            </a:p>
          </p:txBody>
        </p:sp>
        <p:sp>
          <p:nvSpPr>
            <p:cNvPr id="32" name="Rectangle">
              <a:extLst>
                <a:ext uri="{FF2B5EF4-FFF2-40B4-BE49-F238E27FC236}">
                  <a16:creationId xmlns:a16="http://schemas.microsoft.com/office/drawing/2014/main" id="{DC4B2029-610E-495A-875D-E5F52DC99630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33" name="All">
              <a:extLst>
                <a:ext uri="{FF2B5EF4-FFF2-40B4-BE49-F238E27FC236}">
                  <a16:creationId xmlns:a16="http://schemas.microsoft.com/office/drawing/2014/main" id="{E2387F63-781A-4D54-A3F9-C8C5AA746011}"/>
                </a:ext>
              </a:extLst>
            </p:cNvPr>
            <p:cNvSpPr txBox="1"/>
            <p:nvPr/>
          </p:nvSpPr>
          <p:spPr>
            <a:xfrm>
              <a:off x="791887" y="1520125"/>
              <a:ext cx="1940683" cy="38038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/>
                <a:t>All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50AB6555-C212-4152-93EE-5C21C73B2871}"/>
              </a:ext>
            </a:extLst>
          </p:cNvPr>
          <p:cNvSpPr/>
          <p:nvPr/>
        </p:nvSpPr>
        <p:spPr>
          <a:xfrm>
            <a:off x="1018517" y="4799851"/>
            <a:ext cx="3968840" cy="1552477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ZUK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ZIT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…</a:t>
            </a:r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pSp>
        <p:nvGrpSpPr>
          <p:cNvPr id="41" name="Gruppieren 32">
            <a:extLst>
              <a:ext uri="{FF2B5EF4-FFF2-40B4-BE49-F238E27FC236}">
                <a16:creationId xmlns:a16="http://schemas.microsoft.com/office/drawing/2014/main" id="{B77504A8-F208-4E36-ABB3-396E8A6A7CBD}"/>
              </a:ext>
            </a:extLst>
          </p:cNvPr>
          <p:cNvGrpSpPr/>
          <p:nvPr/>
        </p:nvGrpSpPr>
        <p:grpSpPr>
          <a:xfrm>
            <a:off x="5019879" y="6846784"/>
            <a:ext cx="4162637" cy="937128"/>
            <a:chOff x="543123" y="1146580"/>
            <a:chExt cx="4309574" cy="972229"/>
          </a:xfrm>
        </p:grpSpPr>
        <p:pic>
          <p:nvPicPr>
            <p:cNvPr id="4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BE9EAB4F-B25F-465B-8BE8-85F4B3A482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44" name="OE Name">
              <a:extLst>
                <a:ext uri="{FF2B5EF4-FFF2-40B4-BE49-F238E27FC236}">
                  <a16:creationId xmlns:a16="http://schemas.microsoft.com/office/drawing/2014/main" id="{0C4F8E15-AF68-4251-82F8-DB5BAB1D86B5}"/>
                </a:ext>
              </a:extLst>
            </p:cNvPr>
            <p:cNvSpPr txBox="1"/>
            <p:nvPr/>
          </p:nvSpPr>
          <p:spPr>
            <a:xfrm>
              <a:off x="757227" y="1146580"/>
              <a:ext cx="2149012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Customer</a:t>
              </a:r>
              <a:r>
                <a:rPr lang="de-DE" sz="1800">
                  <a:solidFill>
                    <a:srgbClr val="00B050"/>
                  </a:solidFill>
                </a:rPr>
                <a:t> </a:t>
              </a:r>
              <a:r>
                <a:rPr lang="de-DE" sz="1800"/>
                <a:t>Name</a:t>
              </a:r>
              <a:endParaRPr sz="1800"/>
            </a:p>
          </p:txBody>
        </p:sp>
        <p:sp>
          <p:nvSpPr>
            <p:cNvPr id="45" name="Rectangle">
              <a:extLst>
                <a:ext uri="{FF2B5EF4-FFF2-40B4-BE49-F238E27FC236}">
                  <a16:creationId xmlns:a16="http://schemas.microsoft.com/office/drawing/2014/main" id="{A46970EB-59FE-40CC-8A48-BFC050A17E3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46" name="All">
              <a:extLst>
                <a:ext uri="{FF2B5EF4-FFF2-40B4-BE49-F238E27FC236}">
                  <a16:creationId xmlns:a16="http://schemas.microsoft.com/office/drawing/2014/main" id="{5DDF3AAE-B3F7-428F-964C-78037008BBA3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All</a:t>
              </a:r>
              <a:endParaRPr sz="1800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B4BD2AB6-06C6-4929-9631-2ECA8CF3BCE3}"/>
              </a:ext>
            </a:extLst>
          </p:cNvPr>
          <p:cNvSpPr/>
          <p:nvPr/>
        </p:nvSpPr>
        <p:spPr>
          <a:xfrm>
            <a:off x="5213676" y="7868580"/>
            <a:ext cx="3968840" cy="1492908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800" b="0">
              <a:solidFill>
                <a:schemeClr val="accent1"/>
              </a:solidFill>
              <a:latin typeface="Helvetica Neue" panose="02000503000000020004" pitchFamily="2" charset="0"/>
            </a:endParaRPr>
          </a:p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UNIONE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(UK) IDES LIMITED TRADING AS IDES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…</a:t>
            </a:r>
          </a:p>
          <a:p>
            <a:pPr algn="l"/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</a:endParaRPr>
          </a:p>
        </p:txBody>
      </p:sp>
      <p:grpSp>
        <p:nvGrpSpPr>
          <p:cNvPr id="48" name="Gruppieren 31">
            <a:extLst>
              <a:ext uri="{FF2B5EF4-FFF2-40B4-BE49-F238E27FC236}">
                <a16:creationId xmlns:a16="http://schemas.microsoft.com/office/drawing/2014/main" id="{B91C9E5B-6851-4034-B017-DAF11B9CFA30}"/>
              </a:ext>
            </a:extLst>
          </p:cNvPr>
          <p:cNvGrpSpPr/>
          <p:nvPr/>
        </p:nvGrpSpPr>
        <p:grpSpPr>
          <a:xfrm>
            <a:off x="9176938" y="6813293"/>
            <a:ext cx="4162637" cy="971546"/>
            <a:chOff x="5140876" y="1097296"/>
            <a:chExt cx="4309574" cy="1005841"/>
          </a:xfrm>
        </p:grpSpPr>
        <p:pic>
          <p:nvPicPr>
            <p:cNvPr id="50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692B7CA-5621-4EA5-ABD3-7CF2E3366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51" name="OE Name">
              <a:extLst>
                <a:ext uri="{FF2B5EF4-FFF2-40B4-BE49-F238E27FC236}">
                  <a16:creationId xmlns:a16="http://schemas.microsoft.com/office/drawing/2014/main" id="{2A398624-3A86-4F25-B897-C9688699D49B}"/>
                </a:ext>
              </a:extLst>
            </p:cNvPr>
            <p:cNvSpPr txBox="1"/>
            <p:nvPr/>
          </p:nvSpPr>
          <p:spPr>
            <a:xfrm>
              <a:off x="5354980" y="1097296"/>
              <a:ext cx="2626757" cy="3929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/>
                <a:t>Ultimate Parent</a:t>
              </a:r>
            </a:p>
          </p:txBody>
        </p:sp>
        <p:sp>
          <p:nvSpPr>
            <p:cNvPr id="52" name="Rectangle">
              <a:extLst>
                <a:ext uri="{FF2B5EF4-FFF2-40B4-BE49-F238E27FC236}">
                  <a16:creationId xmlns:a16="http://schemas.microsoft.com/office/drawing/2014/main" id="{6DB289BD-CB5C-4695-9781-38D4A0B3D0A4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53" name="All">
              <a:extLst>
                <a:ext uri="{FF2B5EF4-FFF2-40B4-BE49-F238E27FC236}">
                  <a16:creationId xmlns:a16="http://schemas.microsoft.com/office/drawing/2014/main" id="{52BA0066-C6BA-419C-80AB-08CB7E062933}"/>
                </a:ext>
              </a:extLst>
            </p:cNvPr>
            <p:cNvSpPr txBox="1"/>
            <p:nvPr/>
          </p:nvSpPr>
          <p:spPr>
            <a:xfrm>
              <a:off x="5389640" y="1498149"/>
              <a:ext cx="1940683" cy="3929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/>
                <a:t>All</a:t>
              </a: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596BF169-F508-4B0D-A316-9F0A1965994F}"/>
              </a:ext>
            </a:extLst>
          </p:cNvPr>
          <p:cNvSpPr/>
          <p:nvPr/>
        </p:nvSpPr>
        <p:spPr>
          <a:xfrm>
            <a:off x="9417220" y="7840769"/>
            <a:ext cx="3968840" cy="1492908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All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UNIONE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(UK) IDES LIMITED TRADING AS IDES</a:t>
            </a:r>
          </a:p>
          <a:p>
            <a:pPr algn="l"/>
            <a:r>
              <a:rPr lang="en-GB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…</a:t>
            </a:r>
          </a:p>
        </p:txBody>
      </p:sp>
      <p:grpSp>
        <p:nvGrpSpPr>
          <p:cNvPr id="69" name="Gruppieren 32">
            <a:extLst>
              <a:ext uri="{FF2B5EF4-FFF2-40B4-BE49-F238E27FC236}">
                <a16:creationId xmlns:a16="http://schemas.microsoft.com/office/drawing/2014/main" id="{CF58D1A6-90B3-4709-82F8-8539AEAEC188}"/>
              </a:ext>
            </a:extLst>
          </p:cNvPr>
          <p:cNvGrpSpPr/>
          <p:nvPr/>
        </p:nvGrpSpPr>
        <p:grpSpPr>
          <a:xfrm>
            <a:off x="862820" y="6847115"/>
            <a:ext cx="4162637" cy="937128"/>
            <a:chOff x="543123" y="1146580"/>
            <a:chExt cx="4309574" cy="972229"/>
          </a:xfrm>
        </p:grpSpPr>
        <p:pic>
          <p:nvPicPr>
            <p:cNvPr id="7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B5013717-C960-4EFD-95AC-FF5FAAE04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72" name="OE Name">
              <a:extLst>
                <a:ext uri="{FF2B5EF4-FFF2-40B4-BE49-F238E27FC236}">
                  <a16:creationId xmlns:a16="http://schemas.microsoft.com/office/drawing/2014/main" id="{C13EC5E9-CEA1-4C62-AA69-4CD90E54412C}"/>
                </a:ext>
              </a:extLst>
            </p:cNvPr>
            <p:cNvSpPr txBox="1"/>
            <p:nvPr/>
          </p:nvSpPr>
          <p:spPr>
            <a:xfrm>
              <a:off x="757227" y="1146580"/>
              <a:ext cx="1940683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/>
                <a:t>C</a:t>
              </a:r>
              <a:r>
                <a:rPr lang="de-DE" sz="1800"/>
                <a:t>lose Date</a:t>
              </a:r>
              <a:endParaRPr sz="1800"/>
            </a:p>
          </p:txBody>
        </p:sp>
        <p:sp>
          <p:nvSpPr>
            <p:cNvPr id="73" name="Rectangle">
              <a:extLst>
                <a:ext uri="{FF2B5EF4-FFF2-40B4-BE49-F238E27FC236}">
                  <a16:creationId xmlns:a16="http://schemas.microsoft.com/office/drawing/2014/main" id="{20F3F096-CB4E-4C09-BA9C-CAA4A1DE87B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74" name="All">
              <a:extLst>
                <a:ext uri="{FF2B5EF4-FFF2-40B4-BE49-F238E27FC236}">
                  <a16:creationId xmlns:a16="http://schemas.microsoft.com/office/drawing/2014/main" id="{B88CC575-4FE5-4728-9D9F-C000E485ECD4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/>
                <a:t>2022-08-01</a:t>
              </a:r>
              <a:endParaRPr lang="en-DE" sz="1800"/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1910B73C-525F-4F5F-BC9D-0EBF81723D05}"/>
              </a:ext>
            </a:extLst>
          </p:cNvPr>
          <p:cNvSpPr/>
          <p:nvPr/>
        </p:nvSpPr>
        <p:spPr>
          <a:xfrm>
            <a:off x="1056617" y="7868911"/>
            <a:ext cx="3968840" cy="1492908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2022-08-01</a:t>
            </a:r>
            <a:endParaRPr lang="en-DE" sz="1800" b="0">
              <a:solidFill>
                <a:schemeClr val="accent1"/>
              </a:solidFill>
              <a:latin typeface="Helvetica Neue" panose="02000503000000020004" pitchFamily="2" charset="0"/>
            </a:endParaRP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2022-09-01</a:t>
            </a:r>
            <a:endParaRPr lang="en-GB" sz="1800" b="0">
              <a:solidFill>
                <a:schemeClr val="accent1"/>
              </a:solidFill>
              <a:latin typeface="Helvetica Neue" panose="02000503000000020004" pitchFamily="2" charset="0"/>
            </a:endParaRP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2022-10-01</a:t>
            </a:r>
          </a:p>
          <a:p>
            <a:pPr algn="l"/>
            <a:r>
              <a:rPr lang="en-US" sz="1800" b="0">
                <a:solidFill>
                  <a:schemeClr val="accent1"/>
                </a:solidFill>
                <a:latin typeface="Helvetica Neue" panose="02000503000000020004" pitchFamily="2" charset="0"/>
              </a:rPr>
              <a:t>…</a:t>
            </a:r>
          </a:p>
        </p:txBody>
      </p:sp>
      <p:grpSp>
        <p:nvGrpSpPr>
          <p:cNvPr id="77" name="Gruppieren 32">
            <a:extLst>
              <a:ext uri="{FF2B5EF4-FFF2-40B4-BE49-F238E27FC236}">
                <a16:creationId xmlns:a16="http://schemas.microsoft.com/office/drawing/2014/main" id="{574DE4B7-44BC-4F86-84E2-04188E35B0D8}"/>
              </a:ext>
            </a:extLst>
          </p:cNvPr>
          <p:cNvGrpSpPr/>
          <p:nvPr/>
        </p:nvGrpSpPr>
        <p:grpSpPr>
          <a:xfrm>
            <a:off x="5058766" y="9842526"/>
            <a:ext cx="4162637" cy="937128"/>
            <a:chOff x="543123" y="1146580"/>
            <a:chExt cx="4309574" cy="972229"/>
          </a:xfrm>
        </p:grpSpPr>
        <p:pic>
          <p:nvPicPr>
            <p:cNvPr id="80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2B7AB1C-71AB-4F9C-ACF1-8F3550F76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81" name="OE Name">
              <a:extLst>
                <a:ext uri="{FF2B5EF4-FFF2-40B4-BE49-F238E27FC236}">
                  <a16:creationId xmlns:a16="http://schemas.microsoft.com/office/drawing/2014/main" id="{256C26F5-66EE-46E8-9A26-F5B85CBD8DC3}"/>
                </a:ext>
              </a:extLst>
            </p:cNvPr>
            <p:cNvSpPr txBox="1"/>
            <p:nvPr/>
          </p:nvSpPr>
          <p:spPr>
            <a:xfrm>
              <a:off x="757227" y="1146580"/>
              <a:ext cx="1940683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>
                  <a:solidFill>
                    <a:srgbClr val="00B050"/>
                  </a:solidFill>
                </a:rPr>
                <a:t>Year</a:t>
              </a: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82" name="Rectangle">
              <a:extLst>
                <a:ext uri="{FF2B5EF4-FFF2-40B4-BE49-F238E27FC236}">
                  <a16:creationId xmlns:a16="http://schemas.microsoft.com/office/drawing/2014/main" id="{2EB378BD-107B-4BAB-A203-CB0F7027E2BD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83" name="All">
              <a:extLst>
                <a:ext uri="{FF2B5EF4-FFF2-40B4-BE49-F238E27FC236}">
                  <a16:creationId xmlns:a16="http://schemas.microsoft.com/office/drawing/2014/main" id="{6720C115-E2AA-470A-BFF7-13B218902E86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>
                  <a:solidFill>
                    <a:srgbClr val="00B050"/>
                  </a:solidFill>
                </a:rPr>
                <a:t>2022</a:t>
              </a:r>
              <a:endParaRPr sz="1800">
                <a:solidFill>
                  <a:srgbClr val="00B050"/>
                </a:solidFill>
              </a:endParaRP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A74B6956-1B7B-4A18-973F-A5FACFE2F02A}"/>
              </a:ext>
            </a:extLst>
          </p:cNvPr>
          <p:cNvSpPr/>
          <p:nvPr/>
        </p:nvSpPr>
        <p:spPr>
          <a:xfrm>
            <a:off x="5252563" y="10864321"/>
            <a:ext cx="3968840" cy="1551119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  <a:p>
            <a:pPr algn="l"/>
            <a:r>
              <a:rPr lang="en-GB" sz="1800" b="0">
                <a:solidFill>
                  <a:srgbClr val="00B050"/>
                </a:solidFill>
                <a:latin typeface="Helvetica Neue" panose="02000503000000020004" pitchFamily="2" charset="0"/>
              </a:rPr>
              <a:t>2018</a:t>
            </a:r>
          </a:p>
          <a:p>
            <a:pPr algn="l"/>
            <a:r>
              <a:rPr lang="en-GB" sz="1800" b="0">
                <a:solidFill>
                  <a:srgbClr val="00B050"/>
                </a:solidFill>
                <a:latin typeface="Helvetica Neue" panose="02000503000000020004" pitchFamily="2" charset="0"/>
              </a:rPr>
              <a:t>2019</a:t>
            </a:r>
          </a:p>
          <a:p>
            <a:pPr algn="l"/>
            <a:r>
              <a:rPr lang="en-GB" sz="1800" b="0">
                <a:solidFill>
                  <a:srgbClr val="00B050"/>
                </a:solidFill>
                <a:latin typeface="Helvetica Neue" panose="02000503000000020004" pitchFamily="2" charset="0"/>
              </a:rPr>
              <a:t>2020 </a:t>
            </a:r>
          </a:p>
          <a:p>
            <a:pPr algn="l"/>
            <a:r>
              <a:rPr lang="en-GB" sz="1800" b="0">
                <a:solidFill>
                  <a:srgbClr val="00B050"/>
                </a:solidFill>
                <a:latin typeface="Helvetica Neue" panose="02000503000000020004" pitchFamily="2" charset="0"/>
              </a:rPr>
              <a:t>2021</a:t>
            </a:r>
          </a:p>
          <a:p>
            <a:pPr algn="l"/>
            <a:r>
              <a:rPr lang="en-GB" sz="1800" b="0">
                <a:solidFill>
                  <a:srgbClr val="00B050"/>
                </a:solidFill>
                <a:latin typeface="Helvetica Neue" panose="02000503000000020004" pitchFamily="2" charset="0"/>
              </a:rPr>
              <a:t>2022</a:t>
            </a:r>
            <a:endParaRPr lang="en-DE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  <a:p>
            <a:pPr algn="l"/>
            <a:endParaRPr lang="en-GB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</p:txBody>
      </p:sp>
      <p:grpSp>
        <p:nvGrpSpPr>
          <p:cNvPr id="85" name="Gruppieren 32">
            <a:extLst>
              <a:ext uri="{FF2B5EF4-FFF2-40B4-BE49-F238E27FC236}">
                <a16:creationId xmlns:a16="http://schemas.microsoft.com/office/drawing/2014/main" id="{D6B3FCF7-C0A2-4C36-99A4-6302267FAD04}"/>
              </a:ext>
            </a:extLst>
          </p:cNvPr>
          <p:cNvGrpSpPr/>
          <p:nvPr/>
        </p:nvGrpSpPr>
        <p:grpSpPr>
          <a:xfrm>
            <a:off x="817135" y="9704358"/>
            <a:ext cx="4162637" cy="1075628"/>
            <a:chOff x="543123" y="1002893"/>
            <a:chExt cx="4309574" cy="1115916"/>
          </a:xfrm>
        </p:grpSpPr>
        <p:pic>
          <p:nvPicPr>
            <p:cNvPr id="8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206AFF0-D3ED-4CD8-BFE0-B245AAE9A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88" name="OE Name">
              <a:extLst>
                <a:ext uri="{FF2B5EF4-FFF2-40B4-BE49-F238E27FC236}">
                  <a16:creationId xmlns:a16="http://schemas.microsoft.com/office/drawing/2014/main" id="{16A95FC5-644E-4334-B6EF-883491E54F78}"/>
                </a:ext>
              </a:extLst>
            </p:cNvPr>
            <p:cNvSpPr txBox="1"/>
            <p:nvPr/>
          </p:nvSpPr>
          <p:spPr>
            <a:xfrm>
              <a:off x="757227" y="1002893"/>
              <a:ext cx="1940683" cy="68118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>
                  <a:solidFill>
                    <a:srgbClr val="00B050"/>
                  </a:solidFill>
                </a:rPr>
                <a:t>Year Basis</a:t>
              </a:r>
            </a:p>
            <a:p>
              <a:endParaRPr sz="1800"/>
            </a:p>
          </p:txBody>
        </p:sp>
        <p:sp>
          <p:nvSpPr>
            <p:cNvPr id="89" name="Rectangle">
              <a:extLst>
                <a:ext uri="{FF2B5EF4-FFF2-40B4-BE49-F238E27FC236}">
                  <a16:creationId xmlns:a16="http://schemas.microsoft.com/office/drawing/2014/main" id="{A39A53EB-511E-4452-873C-F62507744391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/>
            </a:p>
          </p:txBody>
        </p:sp>
        <p:sp>
          <p:nvSpPr>
            <p:cNvPr id="90" name="All">
              <a:extLst>
                <a:ext uri="{FF2B5EF4-FFF2-40B4-BE49-F238E27FC236}">
                  <a16:creationId xmlns:a16="http://schemas.microsoft.com/office/drawing/2014/main" id="{430E88E1-6BC3-4E6B-9C39-6EA528855CF9}"/>
                </a:ext>
              </a:extLst>
            </p:cNvPr>
            <p:cNvSpPr txBox="1"/>
            <p:nvPr/>
          </p:nvSpPr>
          <p:spPr>
            <a:xfrm>
              <a:off x="791887" y="1513411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>
                  <a:solidFill>
                    <a:srgbClr val="00B050"/>
                  </a:solidFill>
                </a:rPr>
                <a:t>UW Year</a:t>
              </a:r>
            </a:p>
          </p:txBody>
        </p: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6AFAAB8B-8795-4972-8EB1-01FE82DB2291}"/>
              </a:ext>
            </a:extLst>
          </p:cNvPr>
          <p:cNvSpPr/>
          <p:nvPr/>
        </p:nvSpPr>
        <p:spPr>
          <a:xfrm>
            <a:off x="1010932" y="10864652"/>
            <a:ext cx="3968840" cy="1551119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UW Year</a:t>
            </a: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Accident Year</a:t>
            </a:r>
          </a:p>
        </p:txBody>
      </p:sp>
      <p:grpSp>
        <p:nvGrpSpPr>
          <p:cNvPr id="92" name="Gruppieren 32">
            <a:extLst>
              <a:ext uri="{FF2B5EF4-FFF2-40B4-BE49-F238E27FC236}">
                <a16:creationId xmlns:a16="http://schemas.microsoft.com/office/drawing/2014/main" id="{E637E265-26F3-4B76-9AB0-F8B4D3756C24}"/>
              </a:ext>
            </a:extLst>
          </p:cNvPr>
          <p:cNvGrpSpPr/>
          <p:nvPr/>
        </p:nvGrpSpPr>
        <p:grpSpPr>
          <a:xfrm>
            <a:off x="9388190" y="9842526"/>
            <a:ext cx="4162637" cy="937128"/>
            <a:chOff x="543123" y="1146580"/>
            <a:chExt cx="4309574" cy="97222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4C0E4C0-B4A7-43E2-895F-386199A6C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3CF3C409-7122-415B-9D5D-94C43B49D49E}"/>
                </a:ext>
              </a:extLst>
            </p:cNvPr>
            <p:cNvSpPr txBox="1"/>
            <p:nvPr/>
          </p:nvSpPr>
          <p:spPr>
            <a:xfrm>
              <a:off x="757227" y="1146580"/>
              <a:ext cx="1940683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>
                  <a:solidFill>
                    <a:srgbClr val="00B050"/>
                  </a:solidFill>
                </a:rPr>
                <a:t>ISIC+</a:t>
              </a: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20130C78-81FE-4742-820E-0C1A54658FFB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F86200"/>
                </a:solidFill>
              </a:endParaRPr>
            </a:p>
          </p:txBody>
        </p:sp>
        <p:sp>
          <p:nvSpPr>
            <p:cNvPr id="97" name="All">
              <a:extLst>
                <a:ext uri="{FF2B5EF4-FFF2-40B4-BE49-F238E27FC236}">
                  <a16:creationId xmlns:a16="http://schemas.microsoft.com/office/drawing/2014/main" id="{668C1CA0-A7DA-4EB2-B966-5F50DA58FDBC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sz="1800">
                  <a:solidFill>
                    <a:srgbClr val="00B050"/>
                  </a:solidFill>
                </a:rPr>
                <a:t>All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AA211AF-620D-43D0-99A7-E207243C995A}"/>
              </a:ext>
            </a:extLst>
          </p:cNvPr>
          <p:cNvSpPr/>
          <p:nvPr/>
        </p:nvSpPr>
        <p:spPr>
          <a:xfrm>
            <a:off x="9581987" y="10864321"/>
            <a:ext cx="3968840" cy="1551119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rgbClr val="00B050"/>
                </a:solidFill>
                <a:latin typeface="Helvetica Neue" panose="02000503000000020004" pitchFamily="2" charset="0"/>
              </a:rPr>
              <a:t>All</a:t>
            </a:r>
            <a:endParaRPr lang="en-US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658891</a:t>
            </a: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340900</a:t>
            </a: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340900</a:t>
            </a: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</a:rPr>
              <a:t>…</a:t>
            </a:r>
            <a:endParaRPr lang="en-DE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</p:txBody>
      </p:sp>
      <p:grpSp>
        <p:nvGrpSpPr>
          <p:cNvPr id="98" name="Gruppieren 32">
            <a:extLst>
              <a:ext uri="{FF2B5EF4-FFF2-40B4-BE49-F238E27FC236}">
                <a16:creationId xmlns:a16="http://schemas.microsoft.com/office/drawing/2014/main" id="{98D82FC8-5544-4EFE-8A0A-D6F24BA63519}"/>
              </a:ext>
            </a:extLst>
          </p:cNvPr>
          <p:cNvGrpSpPr/>
          <p:nvPr/>
        </p:nvGrpSpPr>
        <p:grpSpPr>
          <a:xfrm>
            <a:off x="13684956" y="9832460"/>
            <a:ext cx="4162637" cy="937128"/>
            <a:chOff x="543123" y="1146580"/>
            <a:chExt cx="4309574" cy="972229"/>
          </a:xfrm>
        </p:grpSpPr>
        <p:pic>
          <p:nvPicPr>
            <p:cNvPr id="99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5BB7F1B-7F20-43FB-AF0D-6F073C312F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0" name="OE Name">
              <a:extLst>
                <a:ext uri="{FF2B5EF4-FFF2-40B4-BE49-F238E27FC236}">
                  <a16:creationId xmlns:a16="http://schemas.microsoft.com/office/drawing/2014/main" id="{73BCAD03-5562-45A9-86C6-55327091BC99}"/>
                </a:ext>
              </a:extLst>
            </p:cNvPr>
            <p:cNvSpPr txBox="1"/>
            <p:nvPr/>
          </p:nvSpPr>
          <p:spPr>
            <a:xfrm>
              <a:off x="757227" y="1146580"/>
              <a:ext cx="1940683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>
                  <a:solidFill>
                    <a:srgbClr val="00B050"/>
                  </a:solidFill>
                </a:rPr>
                <a:t>Calculation Basis</a:t>
              </a: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101" name="Rectangle">
              <a:extLst>
                <a:ext uri="{FF2B5EF4-FFF2-40B4-BE49-F238E27FC236}">
                  <a16:creationId xmlns:a16="http://schemas.microsoft.com/office/drawing/2014/main" id="{F5125C0B-5015-4D16-AE82-AECDEA1BC20E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F86200"/>
                </a:solidFill>
              </a:endParaRPr>
            </a:p>
          </p:txBody>
        </p:sp>
        <p:sp>
          <p:nvSpPr>
            <p:cNvPr id="102" name="All">
              <a:extLst>
                <a:ext uri="{FF2B5EF4-FFF2-40B4-BE49-F238E27FC236}">
                  <a16:creationId xmlns:a16="http://schemas.microsoft.com/office/drawing/2014/main" id="{099F0A1C-5DEC-4FE3-9675-CF49633535A0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>
                  <a:solidFill>
                    <a:srgbClr val="00B050"/>
                  </a:solidFill>
                </a:rPr>
                <a:t>Gross</a:t>
              </a:r>
              <a:endParaRPr sz="1800">
                <a:solidFill>
                  <a:srgbClr val="00B050"/>
                </a:solidFill>
              </a:endParaRPr>
            </a:p>
          </p:txBody>
        </p:sp>
      </p:grpSp>
      <p:sp>
        <p:nvSpPr>
          <p:cNvPr id="103" name="Rectangle 92">
            <a:extLst>
              <a:ext uri="{FF2B5EF4-FFF2-40B4-BE49-F238E27FC236}">
                <a16:creationId xmlns:a16="http://schemas.microsoft.com/office/drawing/2014/main" id="{9DEF5BCE-27AC-49F1-9C1F-A066ADF72FC0}"/>
              </a:ext>
            </a:extLst>
          </p:cNvPr>
          <p:cNvSpPr/>
          <p:nvPr/>
        </p:nvSpPr>
        <p:spPr>
          <a:xfrm>
            <a:off x="13878753" y="10854255"/>
            <a:ext cx="3968840" cy="1551119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1800" b="0">
                <a:solidFill>
                  <a:srgbClr val="00B050"/>
                </a:solidFill>
                <a:latin typeface="Helvetica Neue" panose="02000503000000020004" pitchFamily="2" charset="0"/>
              </a:rPr>
              <a:t>Gross</a:t>
            </a:r>
            <a:endParaRPr lang="en-DE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</p:txBody>
      </p:sp>
      <p:grpSp>
        <p:nvGrpSpPr>
          <p:cNvPr id="104" name="Gruppieren 32">
            <a:extLst>
              <a:ext uri="{FF2B5EF4-FFF2-40B4-BE49-F238E27FC236}">
                <a16:creationId xmlns:a16="http://schemas.microsoft.com/office/drawing/2014/main" id="{DFC9AF17-5865-40C3-91A8-1C4828E71AAA}"/>
              </a:ext>
            </a:extLst>
          </p:cNvPr>
          <p:cNvGrpSpPr/>
          <p:nvPr/>
        </p:nvGrpSpPr>
        <p:grpSpPr>
          <a:xfrm>
            <a:off x="17972252" y="9838409"/>
            <a:ext cx="4162637" cy="937128"/>
            <a:chOff x="543123" y="1146580"/>
            <a:chExt cx="4309574" cy="972229"/>
          </a:xfrm>
        </p:grpSpPr>
        <p:pic>
          <p:nvPicPr>
            <p:cNvPr id="105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E636947-1E67-49CD-AB00-0F9848D34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6" name="OE Name">
              <a:extLst>
                <a:ext uri="{FF2B5EF4-FFF2-40B4-BE49-F238E27FC236}">
                  <a16:creationId xmlns:a16="http://schemas.microsoft.com/office/drawing/2014/main" id="{92678D80-A3E0-440A-9AFB-8A5B30A1BC1F}"/>
                </a:ext>
              </a:extLst>
            </p:cNvPr>
            <p:cNvSpPr txBox="1"/>
            <p:nvPr/>
          </p:nvSpPr>
          <p:spPr>
            <a:xfrm>
              <a:off x="757227" y="1146580"/>
              <a:ext cx="1940683" cy="39380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800">
                  <a:solidFill>
                    <a:srgbClr val="00B050"/>
                  </a:solidFill>
                </a:rPr>
                <a:t>NatCat</a:t>
              </a:r>
              <a:endParaRPr sz="1800">
                <a:solidFill>
                  <a:srgbClr val="00B050"/>
                </a:solidFill>
              </a:endParaRPr>
            </a:p>
          </p:txBody>
        </p:sp>
        <p:sp>
          <p:nvSpPr>
            <p:cNvPr id="107" name="Rectangle">
              <a:extLst>
                <a:ext uri="{FF2B5EF4-FFF2-40B4-BE49-F238E27FC236}">
                  <a16:creationId xmlns:a16="http://schemas.microsoft.com/office/drawing/2014/main" id="{FCE50E94-3B8F-4814-9438-BC4DD9A2617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800">
                <a:solidFill>
                  <a:srgbClr val="F86200"/>
                </a:solidFill>
              </a:endParaRPr>
            </a:p>
          </p:txBody>
        </p:sp>
        <p:sp>
          <p:nvSpPr>
            <p:cNvPr id="108" name="All">
              <a:extLst>
                <a:ext uri="{FF2B5EF4-FFF2-40B4-BE49-F238E27FC236}">
                  <a16:creationId xmlns:a16="http://schemas.microsoft.com/office/drawing/2014/main" id="{999B58B0-D5CE-4096-8B71-C8CEFEE759D9}"/>
                </a:ext>
              </a:extLst>
            </p:cNvPr>
            <p:cNvSpPr txBox="1"/>
            <p:nvPr/>
          </p:nvSpPr>
          <p:spPr>
            <a:xfrm>
              <a:off x="791887" y="1513412"/>
              <a:ext cx="1940683" cy="3938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800">
                  <a:solidFill>
                    <a:srgbClr val="00B050"/>
                  </a:solidFill>
                </a:rPr>
                <a:t>All</a:t>
              </a:r>
              <a:endParaRPr sz="1800">
                <a:solidFill>
                  <a:srgbClr val="00B050"/>
                </a:solidFill>
              </a:endParaRPr>
            </a:p>
          </p:txBody>
        </p:sp>
      </p:grpSp>
      <p:sp>
        <p:nvSpPr>
          <p:cNvPr id="109" name="Rectangle 92">
            <a:extLst>
              <a:ext uri="{FF2B5EF4-FFF2-40B4-BE49-F238E27FC236}">
                <a16:creationId xmlns:a16="http://schemas.microsoft.com/office/drawing/2014/main" id="{1CADC78F-3E92-4933-9D72-9164E117A759}"/>
              </a:ext>
            </a:extLst>
          </p:cNvPr>
          <p:cNvSpPr/>
          <p:nvPr/>
        </p:nvSpPr>
        <p:spPr>
          <a:xfrm>
            <a:off x="18166049" y="10860204"/>
            <a:ext cx="3968840" cy="1551119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DE" sz="1800" b="0">
                <a:solidFill>
                  <a:srgbClr val="00B05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ll</a:t>
            </a:r>
            <a:endParaRPr lang="en-US" sz="1800" b="0">
              <a:solidFill>
                <a:srgbClr val="00B05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Yes</a:t>
            </a:r>
          </a:p>
          <a:p>
            <a:pPr algn="l"/>
            <a:r>
              <a:rPr lang="en-US" sz="1800" b="0">
                <a:solidFill>
                  <a:srgbClr val="00B05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o</a:t>
            </a:r>
            <a:endParaRPr lang="en-DE" sz="1800" b="0">
              <a:solidFill>
                <a:srgbClr val="00B05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l"/>
            <a:endParaRPr lang="en-DE" sz="1800" b="0">
              <a:solidFill>
                <a:srgbClr val="00B050"/>
              </a:solidFill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612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770D91-C1D8-476C-92B0-7AF1F43607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47812AB-D611-44A6-BEB4-9A2E63AAECC4}"/>
              </a:ext>
            </a:extLst>
          </p:cNvPr>
          <p:cNvSpPr txBox="1">
            <a:spLocks/>
          </p:cNvSpPr>
          <p:nvPr/>
        </p:nvSpPr>
        <p:spPr>
          <a:xfrm>
            <a:off x="1320800" y="2326640"/>
            <a:ext cx="19182080" cy="96723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4800" b="0">
                <a:solidFill>
                  <a:schemeClr val="bg2"/>
                </a:solidFill>
                <a:cs typeface="Arial"/>
              </a:rPr>
              <a:t>1. How did we leave things?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4800" b="0">
                <a:solidFill>
                  <a:schemeClr val="accent1"/>
                </a:solidFill>
                <a:cs typeface="Arial"/>
              </a:rPr>
              <a:t>When last we met, the Dashboard Design Group had:</a:t>
            </a:r>
          </a:p>
          <a:p>
            <a:pPr marL="914400" indent="-9144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</a:pPr>
            <a:r>
              <a:rPr lang="en-US" sz="4800" b="0">
                <a:cs typeface="Arial"/>
              </a:rPr>
              <a:t>Collated all known requirements, which had been lodged as </a:t>
            </a:r>
            <a:r>
              <a:rPr lang="en-US" sz="4800" b="0">
                <a:solidFill>
                  <a:srgbClr val="00B0F0"/>
                </a:solidFill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er Stories in Jira </a:t>
            </a:r>
          </a:p>
          <a:p>
            <a:pPr marL="914400" indent="-91440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Reviewed potential candidates for a ‘Foundation’ analytics dashboard design</a:t>
            </a:r>
          </a:p>
          <a:p>
            <a:pPr marL="914400" indent="-9144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Selected existing AGCS dashboards as the target for our foundation release </a:t>
            </a:r>
            <a:endParaRPr lang="en-US" sz="4800" b="0">
              <a:cs typeface="Arial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742950" indent="-742950">
              <a:buFont typeface="+mj-lt"/>
              <a:buAutoNum type="alphaLcParenR"/>
            </a:pPr>
            <a:endParaRPr lang="en-US" sz="4000" b="0">
              <a:cs typeface="Arial"/>
              <a:hlinkClick r:id="rId2"/>
            </a:endParaRPr>
          </a:p>
        </p:txBody>
      </p:sp>
      <p:pic>
        <p:nvPicPr>
          <p:cNvPr id="7" name="Picture 6" descr="Woman in business attire">
            <a:extLst>
              <a:ext uri="{FF2B5EF4-FFF2-40B4-BE49-F238E27FC236}">
                <a16:creationId xmlns:a16="http://schemas.microsoft.com/office/drawing/2014/main" id="{9FDEF50C-1B70-4755-B3D1-81F2AE7A82E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45438" y="1717040"/>
            <a:ext cx="4152482" cy="27697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44D2C7C-470D-46F0-9FAB-6A1677120B15}"/>
              </a:ext>
            </a:extLst>
          </p:cNvPr>
          <p:cNvSpPr txBox="1"/>
          <p:nvPr/>
        </p:nvSpPr>
        <p:spPr>
          <a:xfrm>
            <a:off x="958849" y="94488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Byron</a:t>
            </a:r>
            <a:endParaRPr lang="de-DE" sz="3600">
              <a:solidFill>
                <a:srgbClr val="FAB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779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450" y="4516321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 sz="9600">
                <a:cs typeface="Arial"/>
              </a:rPr>
              <a:t>Mockups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64C3D9A-51DE-4813-6CE4-21FB60603740}"/>
              </a:ext>
            </a:extLst>
          </p:cNvPr>
          <p:cNvSpPr txBox="1">
            <a:spLocks/>
          </p:cNvSpPr>
          <p:nvPr/>
        </p:nvSpPr>
        <p:spPr>
          <a:xfrm>
            <a:off x="2997003" y="6071344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b="0">
                <a:cs typeface="Arial"/>
              </a:rPr>
              <a:t>Premium</a:t>
            </a:r>
          </a:p>
        </p:txBody>
      </p:sp>
    </p:spTree>
    <p:extLst>
      <p:ext uri="{BB962C8B-B14F-4D97-AF65-F5344CB8AC3E}">
        <p14:creationId xmlns:p14="http://schemas.microsoft.com/office/powerpoint/2010/main" val="2795212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sp>
        <p:nvSpPr>
          <p:cNvPr id="376" name="9">
            <a:extLst>
              <a:ext uri="{FF2B5EF4-FFF2-40B4-BE49-F238E27FC236}">
                <a16:creationId xmlns:a16="http://schemas.microsoft.com/office/drawing/2014/main" id="{7778921C-8B26-03AB-A694-AD38EB5953FC}"/>
              </a:ext>
            </a:extLst>
          </p:cNvPr>
          <p:cNvSpPr txBox="1"/>
          <p:nvPr/>
        </p:nvSpPr>
        <p:spPr>
          <a:xfrm>
            <a:off x="13960134" y="5937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87" name="9">
            <a:extLst>
              <a:ext uri="{FF2B5EF4-FFF2-40B4-BE49-F238E27FC236}">
                <a16:creationId xmlns:a16="http://schemas.microsoft.com/office/drawing/2014/main" id="{355D7C4F-0932-0A27-5227-337E7C7ABA22}"/>
              </a:ext>
            </a:extLst>
          </p:cNvPr>
          <p:cNvSpPr txBox="1"/>
          <p:nvPr/>
        </p:nvSpPr>
        <p:spPr>
          <a:xfrm>
            <a:off x="14057169" y="7070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Premium Development</a:t>
            </a:r>
            <a:endParaRPr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1FE7C69-D012-7330-9381-F80C500284DD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 u="sng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3CA55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61" name="Gerade Verbindung 347">
            <a:extLst>
              <a:ext uri="{FF2B5EF4-FFF2-40B4-BE49-F238E27FC236}">
                <a16:creationId xmlns:a16="http://schemas.microsoft.com/office/drawing/2014/main" id="{411CB346-3442-449F-8327-AEB7C29DF241}"/>
              </a:ext>
            </a:extLst>
          </p:cNvPr>
          <p:cNvCxnSpPr>
            <a:cxnSpLocks/>
          </p:cNvCxnSpPr>
          <p:nvPr/>
        </p:nvCxnSpPr>
        <p:spPr>
          <a:xfrm flipH="1">
            <a:off x="14115354" y="70376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 Verbindung 347">
            <a:extLst>
              <a:ext uri="{FF2B5EF4-FFF2-40B4-BE49-F238E27FC236}">
                <a16:creationId xmlns:a16="http://schemas.microsoft.com/office/drawing/2014/main" id="{946BBA1F-FEB8-430D-8D9E-80C66E57C6CB}"/>
              </a:ext>
            </a:extLst>
          </p:cNvPr>
          <p:cNvCxnSpPr>
            <a:cxnSpLocks/>
          </p:cNvCxnSpPr>
          <p:nvPr/>
        </p:nvCxnSpPr>
        <p:spPr>
          <a:xfrm flipH="1">
            <a:off x="14115354" y="79062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 Verbindung 347">
            <a:extLst>
              <a:ext uri="{FF2B5EF4-FFF2-40B4-BE49-F238E27FC236}">
                <a16:creationId xmlns:a16="http://schemas.microsoft.com/office/drawing/2014/main" id="{88B1BD57-77EA-4E44-9DA6-0B2E1726F3FE}"/>
              </a:ext>
            </a:extLst>
          </p:cNvPr>
          <p:cNvCxnSpPr>
            <a:cxnSpLocks/>
          </p:cNvCxnSpPr>
          <p:nvPr/>
        </p:nvCxnSpPr>
        <p:spPr>
          <a:xfrm flipH="1">
            <a:off x="14115354" y="88380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 Verbindung 347">
            <a:extLst>
              <a:ext uri="{FF2B5EF4-FFF2-40B4-BE49-F238E27FC236}">
                <a16:creationId xmlns:a16="http://schemas.microsoft.com/office/drawing/2014/main" id="{5FBD6366-88BB-48D7-B259-A34B75C344F0}"/>
              </a:ext>
            </a:extLst>
          </p:cNvPr>
          <p:cNvCxnSpPr>
            <a:cxnSpLocks/>
          </p:cNvCxnSpPr>
          <p:nvPr/>
        </p:nvCxnSpPr>
        <p:spPr>
          <a:xfrm flipH="1">
            <a:off x="14115354" y="97046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Rechteck 62">
            <a:extLst>
              <a:ext uri="{FF2B5EF4-FFF2-40B4-BE49-F238E27FC236}">
                <a16:creationId xmlns:a16="http://schemas.microsoft.com/office/drawing/2014/main" id="{809E2938-F44D-4745-8FCE-0F6043606EAA}"/>
              </a:ext>
            </a:extLst>
          </p:cNvPr>
          <p:cNvSpPr/>
          <p:nvPr/>
        </p:nvSpPr>
        <p:spPr>
          <a:xfrm>
            <a:off x="11740589" y="53355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6" name="Risk Hazard Group">
            <a:extLst>
              <a:ext uri="{FF2B5EF4-FFF2-40B4-BE49-F238E27FC236}">
                <a16:creationId xmlns:a16="http://schemas.microsoft.com/office/drawing/2014/main" id="{41B25DE8-E329-4069-A7B1-84E0A8619702}"/>
              </a:ext>
            </a:extLst>
          </p:cNvPr>
          <p:cNvSpPr txBox="1"/>
          <p:nvPr/>
        </p:nvSpPr>
        <p:spPr>
          <a:xfrm>
            <a:off x="11830226" y="54672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G</a:t>
            </a:r>
            <a:r>
              <a:rPr lang="de-DE"/>
              <a:t>ross Premium</a:t>
            </a:r>
            <a:endParaRPr/>
          </a:p>
        </p:txBody>
      </p:sp>
      <p:sp>
        <p:nvSpPr>
          <p:cNvPr id="67" name="9">
            <a:extLst>
              <a:ext uri="{FF2B5EF4-FFF2-40B4-BE49-F238E27FC236}">
                <a16:creationId xmlns:a16="http://schemas.microsoft.com/office/drawing/2014/main" id="{A8A21E95-C731-4BF0-AD8D-7C8164DA0616}"/>
              </a:ext>
            </a:extLst>
          </p:cNvPr>
          <p:cNvSpPr txBox="1"/>
          <p:nvPr/>
        </p:nvSpPr>
        <p:spPr>
          <a:xfrm>
            <a:off x="12531029" y="66462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68" name="Gruppieren 345">
            <a:extLst>
              <a:ext uri="{FF2B5EF4-FFF2-40B4-BE49-F238E27FC236}">
                <a16:creationId xmlns:a16="http://schemas.microsoft.com/office/drawing/2014/main" id="{62C791AC-D933-4DB9-9A0C-A956B79BEFE3}"/>
              </a:ext>
            </a:extLst>
          </p:cNvPr>
          <p:cNvGrpSpPr/>
          <p:nvPr/>
        </p:nvGrpSpPr>
        <p:grpSpPr>
          <a:xfrm>
            <a:off x="19578171" y="7319582"/>
            <a:ext cx="898623" cy="3221696"/>
            <a:chOff x="4630720" y="4527741"/>
            <a:chExt cx="898623" cy="3528900"/>
          </a:xfrm>
        </p:grpSpPr>
        <p:sp>
          <p:nvSpPr>
            <p:cNvPr id="69" name="9">
              <a:extLst>
                <a:ext uri="{FF2B5EF4-FFF2-40B4-BE49-F238E27FC236}">
                  <a16:creationId xmlns:a16="http://schemas.microsoft.com/office/drawing/2014/main" id="{D4E0E394-99F2-4C34-BE56-F8CBD8FF2F58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70" name="9">
              <a:extLst>
                <a:ext uri="{FF2B5EF4-FFF2-40B4-BE49-F238E27FC236}">
                  <a16:creationId xmlns:a16="http://schemas.microsoft.com/office/drawing/2014/main" id="{CAE856A5-D81E-4069-954D-213BAABF7DC5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71" name="9">
              <a:extLst>
                <a:ext uri="{FF2B5EF4-FFF2-40B4-BE49-F238E27FC236}">
                  <a16:creationId xmlns:a16="http://schemas.microsoft.com/office/drawing/2014/main" id="{722334B1-5F55-4DCE-BAF6-D43446748F63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72" name="9">
              <a:extLst>
                <a:ext uri="{FF2B5EF4-FFF2-40B4-BE49-F238E27FC236}">
                  <a16:creationId xmlns:a16="http://schemas.microsoft.com/office/drawing/2014/main" id="{D808EFFF-E005-4D55-B846-DEAD0C59B042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73" name="Gerade Verbindung 347">
            <a:extLst>
              <a:ext uri="{FF2B5EF4-FFF2-40B4-BE49-F238E27FC236}">
                <a16:creationId xmlns:a16="http://schemas.microsoft.com/office/drawing/2014/main" id="{677D5098-07CA-4B97-8CC1-F60F84C0E0ED}"/>
              </a:ext>
            </a:extLst>
          </p:cNvPr>
          <p:cNvCxnSpPr/>
          <p:nvPr/>
        </p:nvCxnSpPr>
        <p:spPr>
          <a:xfrm>
            <a:off x="14115354" y="66462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353">
            <a:extLst>
              <a:ext uri="{FF2B5EF4-FFF2-40B4-BE49-F238E27FC236}">
                <a16:creationId xmlns:a16="http://schemas.microsoft.com/office/drawing/2014/main" id="{25B3FC63-C255-48B1-AF9D-0A997160EE54}"/>
              </a:ext>
            </a:extLst>
          </p:cNvPr>
          <p:cNvCxnSpPr>
            <a:cxnSpLocks/>
          </p:cNvCxnSpPr>
          <p:nvPr/>
        </p:nvCxnSpPr>
        <p:spPr>
          <a:xfrm>
            <a:off x="14115354" y="105846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Rechteck 354">
            <a:extLst>
              <a:ext uri="{FF2B5EF4-FFF2-40B4-BE49-F238E27FC236}">
                <a16:creationId xmlns:a16="http://schemas.microsoft.com/office/drawing/2014/main" id="{7849D87E-585C-4E89-88F3-700194C971C8}"/>
              </a:ext>
            </a:extLst>
          </p:cNvPr>
          <p:cNvSpPr/>
          <p:nvPr/>
        </p:nvSpPr>
        <p:spPr>
          <a:xfrm>
            <a:off x="11788720" y="5840895"/>
            <a:ext cx="11108819" cy="6790139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6" name="9">
            <a:extLst>
              <a:ext uri="{FF2B5EF4-FFF2-40B4-BE49-F238E27FC236}">
                <a16:creationId xmlns:a16="http://schemas.microsoft.com/office/drawing/2014/main" id="{3A79E469-4C13-451E-9142-79A537DF72C8}"/>
              </a:ext>
            </a:extLst>
          </p:cNvPr>
          <p:cNvSpPr txBox="1"/>
          <p:nvPr/>
        </p:nvSpPr>
        <p:spPr>
          <a:xfrm>
            <a:off x="12513720" y="7626482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77" name="Gruppieren 345">
            <a:extLst>
              <a:ext uri="{FF2B5EF4-FFF2-40B4-BE49-F238E27FC236}">
                <a16:creationId xmlns:a16="http://schemas.microsoft.com/office/drawing/2014/main" id="{EA867A87-F0EE-4413-9E68-581AACE40994}"/>
              </a:ext>
            </a:extLst>
          </p:cNvPr>
          <p:cNvGrpSpPr/>
          <p:nvPr/>
        </p:nvGrpSpPr>
        <p:grpSpPr>
          <a:xfrm>
            <a:off x="14682685" y="8552021"/>
            <a:ext cx="898623" cy="1989145"/>
            <a:chOff x="4630720" y="5877816"/>
            <a:chExt cx="898623" cy="2178824"/>
          </a:xfrm>
        </p:grpSpPr>
        <p:sp>
          <p:nvSpPr>
            <p:cNvPr id="78" name="9">
              <a:extLst>
                <a:ext uri="{FF2B5EF4-FFF2-40B4-BE49-F238E27FC236}">
                  <a16:creationId xmlns:a16="http://schemas.microsoft.com/office/drawing/2014/main" id="{8A1ECAA3-4D90-4361-9261-CE45FE2EBA46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79" name="9">
              <a:extLst>
                <a:ext uri="{FF2B5EF4-FFF2-40B4-BE49-F238E27FC236}">
                  <a16:creationId xmlns:a16="http://schemas.microsoft.com/office/drawing/2014/main" id="{C17FB364-251C-439F-9068-BD89897F566F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0" name="9">
              <a:extLst>
                <a:ext uri="{FF2B5EF4-FFF2-40B4-BE49-F238E27FC236}">
                  <a16:creationId xmlns:a16="http://schemas.microsoft.com/office/drawing/2014/main" id="{E85F4F4D-E815-47CD-8B5E-95AD38E1C10D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1" name="9">
              <a:extLst>
                <a:ext uri="{FF2B5EF4-FFF2-40B4-BE49-F238E27FC236}">
                  <a16:creationId xmlns:a16="http://schemas.microsoft.com/office/drawing/2014/main" id="{BD3C1577-A0DA-4AAB-8580-1F4D1D35CC00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82" name="9">
            <a:extLst>
              <a:ext uri="{FF2B5EF4-FFF2-40B4-BE49-F238E27FC236}">
                <a16:creationId xmlns:a16="http://schemas.microsoft.com/office/drawing/2014/main" id="{5B8F58CE-EEBC-4166-A6B1-97387F02C226}"/>
              </a:ext>
            </a:extLst>
          </p:cNvPr>
          <p:cNvSpPr txBox="1"/>
          <p:nvPr/>
        </p:nvSpPr>
        <p:spPr>
          <a:xfrm>
            <a:off x="14821542" y="107370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grpSp>
        <p:nvGrpSpPr>
          <p:cNvPr id="83" name="Gruppieren 345">
            <a:extLst>
              <a:ext uri="{FF2B5EF4-FFF2-40B4-BE49-F238E27FC236}">
                <a16:creationId xmlns:a16="http://schemas.microsoft.com/office/drawing/2014/main" id="{EDAEC76E-D3C6-4276-9125-A71FCD9A32DF}"/>
              </a:ext>
            </a:extLst>
          </p:cNvPr>
          <p:cNvGrpSpPr/>
          <p:nvPr/>
        </p:nvGrpSpPr>
        <p:grpSpPr>
          <a:xfrm>
            <a:off x="16282938" y="8168977"/>
            <a:ext cx="898623" cy="2372312"/>
            <a:chOff x="4630720" y="5710885"/>
            <a:chExt cx="898623" cy="2345755"/>
          </a:xfrm>
        </p:grpSpPr>
        <p:sp>
          <p:nvSpPr>
            <p:cNvPr id="84" name="9">
              <a:extLst>
                <a:ext uri="{FF2B5EF4-FFF2-40B4-BE49-F238E27FC236}">
                  <a16:creationId xmlns:a16="http://schemas.microsoft.com/office/drawing/2014/main" id="{3BE13C0B-738D-4B4B-86A5-C1C66141E0E1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5" name="9">
              <a:extLst>
                <a:ext uri="{FF2B5EF4-FFF2-40B4-BE49-F238E27FC236}">
                  <a16:creationId xmlns:a16="http://schemas.microsoft.com/office/drawing/2014/main" id="{58A40E0C-19EB-4028-BB5C-2BDBF029C8E1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6" name="9">
              <a:extLst>
                <a:ext uri="{FF2B5EF4-FFF2-40B4-BE49-F238E27FC236}">
                  <a16:creationId xmlns:a16="http://schemas.microsoft.com/office/drawing/2014/main" id="{8569D8FC-F6EC-495B-8C83-158622329846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93" name="9">
              <a:extLst>
                <a:ext uri="{FF2B5EF4-FFF2-40B4-BE49-F238E27FC236}">
                  <a16:creationId xmlns:a16="http://schemas.microsoft.com/office/drawing/2014/main" id="{57E59AE3-5CAF-4762-9CE1-ACD985EA863C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06" name="9">
            <a:extLst>
              <a:ext uri="{FF2B5EF4-FFF2-40B4-BE49-F238E27FC236}">
                <a16:creationId xmlns:a16="http://schemas.microsoft.com/office/drawing/2014/main" id="{DFCE2BB7-A9A1-4AA2-9B14-3955FCC8F33C}"/>
              </a:ext>
            </a:extLst>
          </p:cNvPr>
          <p:cNvSpPr txBox="1"/>
          <p:nvPr/>
        </p:nvSpPr>
        <p:spPr>
          <a:xfrm>
            <a:off x="16402027" y="107455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grpSp>
        <p:nvGrpSpPr>
          <p:cNvPr id="126" name="Gruppieren 345">
            <a:extLst>
              <a:ext uri="{FF2B5EF4-FFF2-40B4-BE49-F238E27FC236}">
                <a16:creationId xmlns:a16="http://schemas.microsoft.com/office/drawing/2014/main" id="{845A78C7-8213-4B76-89F0-735B3FC25FFF}"/>
              </a:ext>
            </a:extLst>
          </p:cNvPr>
          <p:cNvGrpSpPr/>
          <p:nvPr/>
        </p:nvGrpSpPr>
        <p:grpSpPr>
          <a:xfrm>
            <a:off x="17914776" y="7894102"/>
            <a:ext cx="898623" cy="2647067"/>
            <a:chOff x="4630720" y="5157159"/>
            <a:chExt cx="898623" cy="2899481"/>
          </a:xfrm>
        </p:grpSpPr>
        <p:sp>
          <p:nvSpPr>
            <p:cNvPr id="127" name="9">
              <a:extLst>
                <a:ext uri="{FF2B5EF4-FFF2-40B4-BE49-F238E27FC236}">
                  <a16:creationId xmlns:a16="http://schemas.microsoft.com/office/drawing/2014/main" id="{635432C9-C5F2-4E77-BCC1-CD9AB1F5EB85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28" name="9">
              <a:extLst>
                <a:ext uri="{FF2B5EF4-FFF2-40B4-BE49-F238E27FC236}">
                  <a16:creationId xmlns:a16="http://schemas.microsoft.com/office/drawing/2014/main" id="{4FE48944-D66E-4234-900D-31E341795638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29" name="9">
              <a:extLst>
                <a:ext uri="{FF2B5EF4-FFF2-40B4-BE49-F238E27FC236}">
                  <a16:creationId xmlns:a16="http://schemas.microsoft.com/office/drawing/2014/main" id="{CF65E4B6-797B-4097-A57E-8862DF953DF4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0" name="9">
              <a:extLst>
                <a:ext uri="{FF2B5EF4-FFF2-40B4-BE49-F238E27FC236}">
                  <a16:creationId xmlns:a16="http://schemas.microsoft.com/office/drawing/2014/main" id="{D75A3E51-66A6-43A1-9902-95A24213EB9A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31" name="9">
            <a:extLst>
              <a:ext uri="{FF2B5EF4-FFF2-40B4-BE49-F238E27FC236}">
                <a16:creationId xmlns:a16="http://schemas.microsoft.com/office/drawing/2014/main" id="{5AB2742A-E41E-4501-8A48-E323167DF53F}"/>
              </a:ext>
            </a:extLst>
          </p:cNvPr>
          <p:cNvSpPr txBox="1"/>
          <p:nvPr/>
        </p:nvSpPr>
        <p:spPr>
          <a:xfrm>
            <a:off x="18041150" y="107309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132" name="9">
            <a:extLst>
              <a:ext uri="{FF2B5EF4-FFF2-40B4-BE49-F238E27FC236}">
                <a16:creationId xmlns:a16="http://schemas.microsoft.com/office/drawing/2014/main" id="{00F64BE6-E9BF-4E4B-98B6-207F10E3DCCA}"/>
              </a:ext>
            </a:extLst>
          </p:cNvPr>
          <p:cNvSpPr txBox="1"/>
          <p:nvPr/>
        </p:nvSpPr>
        <p:spPr>
          <a:xfrm>
            <a:off x="19731646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grpSp>
        <p:nvGrpSpPr>
          <p:cNvPr id="133" name="Gruppieren 345">
            <a:extLst>
              <a:ext uri="{FF2B5EF4-FFF2-40B4-BE49-F238E27FC236}">
                <a16:creationId xmlns:a16="http://schemas.microsoft.com/office/drawing/2014/main" id="{23FF3A03-E0C4-407E-A79F-D65C3080F0BB}"/>
              </a:ext>
            </a:extLst>
          </p:cNvPr>
          <p:cNvGrpSpPr/>
          <p:nvPr/>
        </p:nvGrpSpPr>
        <p:grpSpPr>
          <a:xfrm>
            <a:off x="21225762" y="7894102"/>
            <a:ext cx="898623" cy="2647067"/>
            <a:chOff x="4630720" y="5157159"/>
            <a:chExt cx="898623" cy="2899481"/>
          </a:xfrm>
        </p:grpSpPr>
        <p:sp>
          <p:nvSpPr>
            <p:cNvPr id="134" name="9">
              <a:extLst>
                <a:ext uri="{FF2B5EF4-FFF2-40B4-BE49-F238E27FC236}">
                  <a16:creationId xmlns:a16="http://schemas.microsoft.com/office/drawing/2014/main" id="{5F8387BA-010D-4F7E-8DA0-16C8FB47B0A9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5" name="9">
              <a:extLst>
                <a:ext uri="{FF2B5EF4-FFF2-40B4-BE49-F238E27FC236}">
                  <a16:creationId xmlns:a16="http://schemas.microsoft.com/office/drawing/2014/main" id="{F838BB53-8271-4E81-9757-978D3F58FCCD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6" name="9">
              <a:extLst>
                <a:ext uri="{FF2B5EF4-FFF2-40B4-BE49-F238E27FC236}">
                  <a16:creationId xmlns:a16="http://schemas.microsoft.com/office/drawing/2014/main" id="{BCC879F9-7F34-493E-B84C-CA7441E4B5BB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7" name="9">
              <a:extLst>
                <a:ext uri="{FF2B5EF4-FFF2-40B4-BE49-F238E27FC236}">
                  <a16:creationId xmlns:a16="http://schemas.microsoft.com/office/drawing/2014/main" id="{611BF997-2CAC-497C-9BF3-A5EC74DBB59A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38" name="9">
            <a:extLst>
              <a:ext uri="{FF2B5EF4-FFF2-40B4-BE49-F238E27FC236}">
                <a16:creationId xmlns:a16="http://schemas.microsoft.com/office/drawing/2014/main" id="{B3C087C8-B019-4C92-B19F-99840B3B0A15}"/>
              </a:ext>
            </a:extLst>
          </p:cNvPr>
          <p:cNvSpPr txBox="1"/>
          <p:nvPr/>
        </p:nvSpPr>
        <p:spPr>
          <a:xfrm>
            <a:off x="21345568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139" name="9">
            <a:extLst>
              <a:ext uri="{FF2B5EF4-FFF2-40B4-BE49-F238E27FC236}">
                <a16:creationId xmlns:a16="http://schemas.microsoft.com/office/drawing/2014/main" id="{71A909CC-9691-440D-8ACE-0814CD99EFB5}"/>
              </a:ext>
            </a:extLst>
          </p:cNvPr>
          <p:cNvSpPr txBox="1"/>
          <p:nvPr/>
        </p:nvSpPr>
        <p:spPr>
          <a:xfrm>
            <a:off x="13069702" y="95624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140" name="9">
            <a:extLst>
              <a:ext uri="{FF2B5EF4-FFF2-40B4-BE49-F238E27FC236}">
                <a16:creationId xmlns:a16="http://schemas.microsoft.com/office/drawing/2014/main" id="{B6EC7C53-5D17-45A7-B801-1AC49C466EA3}"/>
              </a:ext>
            </a:extLst>
          </p:cNvPr>
          <p:cNvSpPr txBox="1"/>
          <p:nvPr/>
        </p:nvSpPr>
        <p:spPr>
          <a:xfrm>
            <a:off x="13069702" y="86963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141" name="9">
            <a:extLst>
              <a:ext uri="{FF2B5EF4-FFF2-40B4-BE49-F238E27FC236}">
                <a16:creationId xmlns:a16="http://schemas.microsoft.com/office/drawing/2014/main" id="{92513130-3263-40AD-B078-235D84B42BBE}"/>
              </a:ext>
            </a:extLst>
          </p:cNvPr>
          <p:cNvSpPr txBox="1"/>
          <p:nvPr/>
        </p:nvSpPr>
        <p:spPr>
          <a:xfrm>
            <a:off x="13095732" y="77626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142" name="9">
            <a:extLst>
              <a:ext uri="{FF2B5EF4-FFF2-40B4-BE49-F238E27FC236}">
                <a16:creationId xmlns:a16="http://schemas.microsoft.com/office/drawing/2014/main" id="{39499DFB-A367-493F-93EF-44F1E07A0835}"/>
              </a:ext>
            </a:extLst>
          </p:cNvPr>
          <p:cNvSpPr txBox="1"/>
          <p:nvPr/>
        </p:nvSpPr>
        <p:spPr>
          <a:xfrm>
            <a:off x="13095732" y="68959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143" name="Table 142">
            <a:extLst>
              <a:ext uri="{FF2B5EF4-FFF2-40B4-BE49-F238E27FC236}">
                <a16:creationId xmlns:a16="http://schemas.microsoft.com/office/drawing/2014/main" id="{0DA6A711-061A-4F07-9C3E-136730938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374948"/>
              </p:ext>
            </p:extLst>
          </p:nvPr>
        </p:nvGraphicFramePr>
        <p:xfrm>
          <a:off x="16787436" y="11102678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144" name="9">
            <a:extLst>
              <a:ext uri="{FF2B5EF4-FFF2-40B4-BE49-F238E27FC236}">
                <a16:creationId xmlns:a16="http://schemas.microsoft.com/office/drawing/2014/main" id="{1BC4D2CB-4361-4FA0-8FCA-8349BA575A18}"/>
              </a:ext>
            </a:extLst>
          </p:cNvPr>
          <p:cNvSpPr txBox="1"/>
          <p:nvPr/>
        </p:nvSpPr>
        <p:spPr>
          <a:xfrm>
            <a:off x="16604782" y="111672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45" name="9">
            <a:extLst>
              <a:ext uri="{FF2B5EF4-FFF2-40B4-BE49-F238E27FC236}">
                <a16:creationId xmlns:a16="http://schemas.microsoft.com/office/drawing/2014/main" id="{6D2FC4AC-8F7E-498A-8F54-1CBAFD41EB1A}"/>
              </a:ext>
            </a:extLst>
          </p:cNvPr>
          <p:cNvSpPr txBox="1"/>
          <p:nvPr/>
        </p:nvSpPr>
        <p:spPr>
          <a:xfrm>
            <a:off x="16604782" y="114631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46" name="9">
            <a:extLst>
              <a:ext uri="{FF2B5EF4-FFF2-40B4-BE49-F238E27FC236}">
                <a16:creationId xmlns:a16="http://schemas.microsoft.com/office/drawing/2014/main" id="{9C226812-F732-4749-9AFF-5F1C6BC1920C}"/>
              </a:ext>
            </a:extLst>
          </p:cNvPr>
          <p:cNvSpPr txBox="1"/>
          <p:nvPr/>
        </p:nvSpPr>
        <p:spPr>
          <a:xfrm>
            <a:off x="16604782" y="117676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47" name="9">
            <a:extLst>
              <a:ext uri="{FF2B5EF4-FFF2-40B4-BE49-F238E27FC236}">
                <a16:creationId xmlns:a16="http://schemas.microsoft.com/office/drawing/2014/main" id="{CA34F8C6-B04B-4F2A-807F-DC89E4E81AF0}"/>
              </a:ext>
            </a:extLst>
          </p:cNvPr>
          <p:cNvSpPr txBox="1"/>
          <p:nvPr/>
        </p:nvSpPr>
        <p:spPr>
          <a:xfrm>
            <a:off x="22398736" y="10708147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id="{62DF3DEC-AF6D-47CF-8C02-BBDDA638E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9519027"/>
              </p:ext>
            </p:extLst>
          </p:nvPr>
        </p:nvGraphicFramePr>
        <p:xfrm>
          <a:off x="2867033" y="5924047"/>
          <a:ext cx="7006659" cy="582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0" name="Rechteck 62">
            <a:extLst>
              <a:ext uri="{FF2B5EF4-FFF2-40B4-BE49-F238E27FC236}">
                <a16:creationId xmlns:a16="http://schemas.microsoft.com/office/drawing/2014/main" id="{3213CC49-461C-4AB3-9A70-BD5F5848B024}"/>
              </a:ext>
            </a:extLst>
          </p:cNvPr>
          <p:cNvSpPr/>
          <p:nvPr/>
        </p:nvSpPr>
        <p:spPr>
          <a:xfrm>
            <a:off x="799868" y="5319529"/>
            <a:ext cx="10554323" cy="602009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51" name="Risk Hazard Group">
            <a:extLst>
              <a:ext uri="{FF2B5EF4-FFF2-40B4-BE49-F238E27FC236}">
                <a16:creationId xmlns:a16="http://schemas.microsoft.com/office/drawing/2014/main" id="{CF65F621-B269-42FE-933E-0EF146862F5D}"/>
              </a:ext>
            </a:extLst>
          </p:cNvPr>
          <p:cNvSpPr txBox="1"/>
          <p:nvPr/>
        </p:nvSpPr>
        <p:spPr>
          <a:xfrm>
            <a:off x="889505" y="5463899"/>
            <a:ext cx="4726135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G</a:t>
            </a:r>
            <a:r>
              <a:rPr lang="de-DE"/>
              <a:t>ross Premium</a:t>
            </a:r>
            <a:endParaRPr/>
          </a:p>
        </p:txBody>
      </p:sp>
      <p:graphicFrame>
        <p:nvGraphicFramePr>
          <p:cNvPr id="152" name="Table 151">
            <a:extLst>
              <a:ext uri="{FF2B5EF4-FFF2-40B4-BE49-F238E27FC236}">
                <a16:creationId xmlns:a16="http://schemas.microsoft.com/office/drawing/2014/main" id="{B98ABA70-DC5B-4275-A6E0-C9A0437F24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584246"/>
              </p:ext>
            </p:extLst>
          </p:nvPr>
        </p:nvGraphicFramePr>
        <p:xfrm>
          <a:off x="8585018" y="10845809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153" name="9">
            <a:extLst>
              <a:ext uri="{FF2B5EF4-FFF2-40B4-BE49-F238E27FC236}">
                <a16:creationId xmlns:a16="http://schemas.microsoft.com/office/drawing/2014/main" id="{1A996A6F-1ED4-4A74-AC25-1B4FB4A9D800}"/>
              </a:ext>
            </a:extLst>
          </p:cNvPr>
          <p:cNvSpPr txBox="1"/>
          <p:nvPr/>
        </p:nvSpPr>
        <p:spPr>
          <a:xfrm>
            <a:off x="8369936" y="10909746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54" name="9">
            <a:extLst>
              <a:ext uri="{FF2B5EF4-FFF2-40B4-BE49-F238E27FC236}">
                <a16:creationId xmlns:a16="http://schemas.microsoft.com/office/drawing/2014/main" id="{C5F423A6-84C2-492E-A5AD-37CC864BEEC5}"/>
              </a:ext>
            </a:extLst>
          </p:cNvPr>
          <p:cNvSpPr txBox="1"/>
          <p:nvPr/>
        </p:nvSpPr>
        <p:spPr>
          <a:xfrm>
            <a:off x="8369936" y="11268664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155" name="Gruppieren 32">
            <a:extLst>
              <a:ext uri="{FF2B5EF4-FFF2-40B4-BE49-F238E27FC236}">
                <a16:creationId xmlns:a16="http://schemas.microsoft.com/office/drawing/2014/main" id="{490FAE43-F855-4083-A76B-A0E326393596}"/>
              </a:ext>
            </a:extLst>
          </p:cNvPr>
          <p:cNvGrpSpPr>
            <a:grpSpLocks noChangeAspect="1"/>
          </p:cNvGrpSpPr>
          <p:nvPr/>
        </p:nvGrpSpPr>
        <p:grpSpPr>
          <a:xfrm>
            <a:off x="20860216" y="6238485"/>
            <a:ext cx="1871197" cy="641433"/>
            <a:chOff x="543123" y="1292927"/>
            <a:chExt cx="4309574" cy="825882"/>
          </a:xfrm>
        </p:grpSpPr>
        <p:pic>
          <p:nvPicPr>
            <p:cNvPr id="15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5A50FC09-54AC-4F07-8925-AD011B632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57" name="Rectangle">
              <a:extLst>
                <a:ext uri="{FF2B5EF4-FFF2-40B4-BE49-F238E27FC236}">
                  <a16:creationId xmlns:a16="http://schemas.microsoft.com/office/drawing/2014/main" id="{AACA3FFD-8ED9-4275-A883-586D20664155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58" name="All">
              <a:extLst>
                <a:ext uri="{FF2B5EF4-FFF2-40B4-BE49-F238E27FC236}">
                  <a16:creationId xmlns:a16="http://schemas.microsoft.com/office/drawing/2014/main" id="{D79A3490-4ADC-4AA7-BB24-6553B846F29A}"/>
                </a:ext>
              </a:extLst>
            </p:cNvPr>
            <p:cNvSpPr txBox="1"/>
            <p:nvPr/>
          </p:nvSpPr>
          <p:spPr>
            <a:xfrm>
              <a:off x="599743" y="1398681"/>
              <a:ext cx="333471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Sub LOB</a:t>
              </a:r>
              <a:endParaRPr/>
            </a:p>
          </p:txBody>
        </p:sp>
      </p:grp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4392310-F05A-4967-B64B-87997CE9B328}"/>
              </a:ext>
            </a:extLst>
          </p:cNvPr>
          <p:cNvSpPr/>
          <p:nvPr/>
        </p:nvSpPr>
        <p:spPr>
          <a:xfrm>
            <a:off x="20658244" y="6050717"/>
            <a:ext cx="2424205" cy="882797"/>
          </a:xfrm>
          <a:prstGeom prst="rect">
            <a:avLst/>
          </a:prstGeom>
          <a:noFill/>
          <a:ln w="381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3499B9D6-6CE8-4D3C-9C2A-F454B4997FAB}"/>
              </a:ext>
            </a:extLst>
          </p:cNvPr>
          <p:cNvSpPr txBox="1"/>
          <p:nvPr/>
        </p:nvSpPr>
        <p:spPr>
          <a:xfrm>
            <a:off x="11779752" y="6056540"/>
            <a:ext cx="8786132" cy="841256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Split is customizable to be shown by </a:t>
            </a:r>
            <a:r>
              <a:rPr lang="en-US" sz="2400" b="0" i="0" err="1">
                <a:solidFill>
                  <a:srgbClr val="00B050"/>
                </a:solidFill>
                <a:effectLst/>
                <a:latin typeface="-apple-system"/>
              </a:rPr>
              <a:t>LoB</a:t>
            </a: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, Industry, </a:t>
            </a:r>
            <a:r>
              <a:rPr lang="en-US" sz="2400" b="0">
                <a:solidFill>
                  <a:srgbClr val="00B050"/>
                </a:solidFill>
                <a:latin typeface="-apple-system"/>
              </a:rPr>
              <a:t>S</a:t>
            </a: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ub </a:t>
            </a:r>
            <a:r>
              <a:rPr lang="en-US" sz="2400" b="0" i="0" err="1">
                <a:solidFill>
                  <a:srgbClr val="00B050"/>
                </a:solidFill>
                <a:effectLst/>
                <a:latin typeface="-apple-system"/>
              </a:rPr>
              <a:t>LoB</a:t>
            </a: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KPI can be selected as GWP or Gross Written Net Premium</a:t>
            </a:r>
            <a:endParaRPr kumimoji="0" lang="de-DE" sz="2400" b="1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20595C0A-66D0-4A14-865B-4FDC5BEAE1DD}"/>
              </a:ext>
            </a:extLst>
          </p:cNvPr>
          <p:cNvSpPr txBox="1"/>
          <p:nvPr/>
        </p:nvSpPr>
        <p:spPr>
          <a:xfrm>
            <a:off x="2568059" y="6073391"/>
            <a:ext cx="2675954" cy="471924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All years view</a:t>
            </a:r>
            <a:endParaRPr kumimoji="0" lang="de-DE" sz="2400" b="1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163" name="Gruppieren 31">
            <a:extLst>
              <a:ext uri="{FF2B5EF4-FFF2-40B4-BE49-F238E27FC236}">
                <a16:creationId xmlns:a16="http://schemas.microsoft.com/office/drawing/2014/main" id="{3358576D-F7FF-49DA-B65E-07190B4CD34A}"/>
              </a:ext>
            </a:extLst>
          </p:cNvPr>
          <p:cNvGrpSpPr>
            <a:grpSpLocks noChangeAspect="1"/>
          </p:cNvGrpSpPr>
          <p:nvPr/>
        </p:nvGrpSpPr>
        <p:grpSpPr>
          <a:xfrm>
            <a:off x="4727283" y="3671816"/>
            <a:ext cx="2852045" cy="785418"/>
            <a:chOff x="5354974" y="1035853"/>
            <a:chExt cx="6230527" cy="1009171"/>
          </a:xfrm>
        </p:grpSpPr>
        <p:sp>
          <p:nvSpPr>
            <p:cNvPr id="165" name="OE Name">
              <a:extLst>
                <a:ext uri="{FF2B5EF4-FFF2-40B4-BE49-F238E27FC236}">
                  <a16:creationId xmlns:a16="http://schemas.microsoft.com/office/drawing/2014/main" id="{4C9559D0-91A9-4155-9AA5-C335D274956F}"/>
                </a:ext>
              </a:extLst>
            </p:cNvPr>
            <p:cNvSpPr txBox="1"/>
            <p:nvPr/>
          </p:nvSpPr>
          <p:spPr>
            <a:xfrm>
              <a:off x="5354974" y="1035853"/>
              <a:ext cx="5574025" cy="44818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600" b="1"/>
                <a:t>Gross Written Premium</a:t>
              </a:r>
              <a:endParaRPr sz="1600" b="1"/>
            </a:p>
          </p:txBody>
        </p:sp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34D96F22-9662-4CAD-914D-358069DE63FE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/>
            </a:p>
          </p:txBody>
        </p:sp>
        <p:sp>
          <p:nvSpPr>
            <p:cNvPr id="167" name="All">
              <a:extLst>
                <a:ext uri="{FF2B5EF4-FFF2-40B4-BE49-F238E27FC236}">
                  <a16:creationId xmlns:a16="http://schemas.microsoft.com/office/drawing/2014/main" id="{A617F56D-6D5E-4B4F-85EF-5F6124309348}"/>
                </a:ext>
              </a:extLst>
            </p:cNvPr>
            <p:cNvSpPr txBox="1"/>
            <p:nvPr/>
          </p:nvSpPr>
          <p:spPr>
            <a:xfrm>
              <a:off x="9218340" y="1596840"/>
              <a:ext cx="2367161" cy="4481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600"/>
                <a:t>€300.7mn</a:t>
              </a:r>
              <a:endParaRPr sz="1600"/>
            </a:p>
          </p:txBody>
        </p:sp>
      </p:grpSp>
      <p:grpSp>
        <p:nvGrpSpPr>
          <p:cNvPr id="168" name="Gruppieren 31">
            <a:extLst>
              <a:ext uri="{FF2B5EF4-FFF2-40B4-BE49-F238E27FC236}">
                <a16:creationId xmlns:a16="http://schemas.microsoft.com/office/drawing/2014/main" id="{DA9F1AEC-477B-49DD-96D6-E0896517ED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63359" y="3717085"/>
            <a:ext cx="2898100" cy="762047"/>
            <a:chOff x="5356419" y="1065885"/>
            <a:chExt cx="6331137" cy="979138"/>
          </a:xfrm>
        </p:grpSpPr>
        <p:sp>
          <p:nvSpPr>
            <p:cNvPr id="169" name="OE Name">
              <a:extLst>
                <a:ext uri="{FF2B5EF4-FFF2-40B4-BE49-F238E27FC236}">
                  <a16:creationId xmlns:a16="http://schemas.microsoft.com/office/drawing/2014/main" id="{918D26E4-908E-498E-B642-56B84D653F18}"/>
                </a:ext>
              </a:extLst>
            </p:cNvPr>
            <p:cNvSpPr txBox="1"/>
            <p:nvPr/>
          </p:nvSpPr>
          <p:spPr>
            <a:xfrm>
              <a:off x="5390646" y="1065885"/>
              <a:ext cx="6296910" cy="44818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 sz="1600" b="1"/>
                <a:t>Gross </a:t>
              </a:r>
              <a:r>
                <a:rPr lang="de-DE" sz="1600" b="1" err="1"/>
                <a:t>Earned</a:t>
              </a:r>
              <a:r>
                <a:rPr lang="de-DE" sz="1600" b="1"/>
                <a:t> Premium</a:t>
              </a:r>
              <a:endParaRPr sz="1600" b="1"/>
            </a:p>
          </p:txBody>
        </p:sp>
        <p:sp>
          <p:nvSpPr>
            <p:cNvPr id="170" name="Rectangle">
              <a:extLst>
                <a:ext uri="{FF2B5EF4-FFF2-40B4-BE49-F238E27FC236}">
                  <a16:creationId xmlns:a16="http://schemas.microsoft.com/office/drawing/2014/main" id="{716E0B8D-D257-4F15-9680-39BE8322CD20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/>
            </a:p>
          </p:txBody>
        </p:sp>
        <p:sp>
          <p:nvSpPr>
            <p:cNvPr id="171" name="All">
              <a:extLst>
                <a:ext uri="{FF2B5EF4-FFF2-40B4-BE49-F238E27FC236}">
                  <a16:creationId xmlns:a16="http://schemas.microsoft.com/office/drawing/2014/main" id="{6BFC1571-FD84-4D6A-BF37-5835118BF3E5}"/>
                </a:ext>
              </a:extLst>
            </p:cNvPr>
            <p:cNvSpPr txBox="1"/>
            <p:nvPr/>
          </p:nvSpPr>
          <p:spPr>
            <a:xfrm>
              <a:off x="9218340" y="1596840"/>
              <a:ext cx="2367161" cy="44818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600"/>
                <a:t>€300.7m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8813429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Premium Development</a:t>
            </a:r>
            <a:endParaRPr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1FE7C69-D012-7330-9381-F80C500284DD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 u="sng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148" name="Tabelle 258">
            <a:extLst>
              <a:ext uri="{FF2B5EF4-FFF2-40B4-BE49-F238E27FC236}">
                <a16:creationId xmlns:a16="http://schemas.microsoft.com/office/drawing/2014/main" id="{419F461E-6284-4F84-BDC7-882982066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74955"/>
              </p:ext>
            </p:extLst>
          </p:nvPr>
        </p:nvGraphicFramePr>
        <p:xfrm>
          <a:off x="1201939" y="4368749"/>
          <a:ext cx="22165417" cy="28091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70677">
                  <a:extLst>
                    <a:ext uri="{9D8B030D-6E8A-4147-A177-3AD203B41FA5}">
                      <a16:colId xmlns:a16="http://schemas.microsoft.com/office/drawing/2014/main" val="2346514339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3365592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2175763">
                  <a:extLst>
                    <a:ext uri="{9D8B030D-6E8A-4147-A177-3AD203B41FA5}">
                      <a16:colId xmlns:a16="http://schemas.microsoft.com/office/drawing/2014/main" val="2052991075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836874877"/>
                    </a:ext>
                  </a:extLst>
                </a:gridCol>
              </a:tblGrid>
              <a:tr h="459377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E</a:t>
                      </a: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Segm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 Clus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PolicyI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GWP </a:t>
                      </a:r>
                    </a:p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‘000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rgbClr val="F86200"/>
                          </a:solidFill>
                        </a:rPr>
                        <a:t>Loss rati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GWP net increase </a:t>
                      </a:r>
                    </a:p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‘000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Food: Meat &amp; grocery MF-2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345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86200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extile &amp; Tobacco MF-8 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678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86200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i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n-indust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890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86200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34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4626122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rgbClr val="F86200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9051693"/>
                  </a:ext>
                </a:extLst>
              </a:tr>
            </a:tbl>
          </a:graphicData>
        </a:graphic>
      </p:graphicFrame>
      <p:sp>
        <p:nvSpPr>
          <p:cNvPr id="162" name="TextBox 46">
            <a:extLst>
              <a:ext uri="{FF2B5EF4-FFF2-40B4-BE49-F238E27FC236}">
                <a16:creationId xmlns:a16="http://schemas.microsoft.com/office/drawing/2014/main" id="{E7003746-7048-4790-9863-48178D85F95F}"/>
              </a:ext>
            </a:extLst>
          </p:cNvPr>
          <p:cNvSpPr txBox="1"/>
          <p:nvPr/>
        </p:nvSpPr>
        <p:spPr>
          <a:xfrm>
            <a:off x="9307286" y="3731236"/>
            <a:ext cx="12136543" cy="564257"/>
          </a:xfrm>
          <a:prstGeom prst="rect">
            <a:avLst/>
          </a:prstGeom>
          <a:noFill/>
          <a:ln w="127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000" b="1" i="0" u="none" strike="noStrike" cap="none" spc="0" normalizeH="0" baseline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KPIs presented on yearly basis – Underwriting &amp; Accident Year</a:t>
            </a: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30826902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>
                <a:cs typeface="Arial"/>
              </a:rPr>
              <a:t>Claims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8C54BDE0-A775-E156-36E6-4DB49E9F2298}"/>
              </a:ext>
            </a:extLst>
          </p:cNvPr>
          <p:cNvSpPr txBox="1">
            <a:spLocks/>
          </p:cNvSpPr>
          <p:nvPr/>
        </p:nvSpPr>
        <p:spPr>
          <a:xfrm>
            <a:off x="3000450" y="4516321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9600" b="0">
                <a:cs typeface="Arial"/>
              </a:rPr>
              <a:t>Mockups</a:t>
            </a:r>
          </a:p>
        </p:txBody>
      </p:sp>
    </p:spTree>
    <p:extLst>
      <p:ext uri="{BB962C8B-B14F-4D97-AF65-F5344CB8AC3E}">
        <p14:creationId xmlns:p14="http://schemas.microsoft.com/office/powerpoint/2010/main" val="3004640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sp>
        <p:nvSpPr>
          <p:cNvPr id="376" name="9">
            <a:extLst>
              <a:ext uri="{FF2B5EF4-FFF2-40B4-BE49-F238E27FC236}">
                <a16:creationId xmlns:a16="http://schemas.microsoft.com/office/drawing/2014/main" id="{7778921C-8B26-03AB-A694-AD38EB5953FC}"/>
              </a:ext>
            </a:extLst>
          </p:cNvPr>
          <p:cNvSpPr txBox="1"/>
          <p:nvPr/>
        </p:nvSpPr>
        <p:spPr>
          <a:xfrm>
            <a:off x="13960134" y="4540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87" name="9">
            <a:extLst>
              <a:ext uri="{FF2B5EF4-FFF2-40B4-BE49-F238E27FC236}">
                <a16:creationId xmlns:a16="http://schemas.microsoft.com/office/drawing/2014/main" id="{355D7C4F-0932-0A27-5227-337E7C7ABA22}"/>
              </a:ext>
            </a:extLst>
          </p:cNvPr>
          <p:cNvSpPr txBox="1"/>
          <p:nvPr/>
        </p:nvSpPr>
        <p:spPr>
          <a:xfrm>
            <a:off x="14057169" y="5673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Claim Development</a:t>
            </a:r>
            <a:endParaRPr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1FE7C69-D012-7330-9381-F80C500284DD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US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lai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61" name="Gruppieren 31">
            <a:extLst>
              <a:ext uri="{FF2B5EF4-FFF2-40B4-BE49-F238E27FC236}">
                <a16:creationId xmlns:a16="http://schemas.microsoft.com/office/drawing/2014/main" id="{1C09F354-D427-4C67-A5E3-3EED00883959}"/>
              </a:ext>
            </a:extLst>
          </p:cNvPr>
          <p:cNvGrpSpPr>
            <a:grpSpLocks noChangeAspect="1"/>
          </p:cNvGrpSpPr>
          <p:nvPr/>
        </p:nvGrpSpPr>
        <p:grpSpPr>
          <a:xfrm>
            <a:off x="4727283" y="3671926"/>
            <a:ext cx="2852045" cy="908531"/>
            <a:chOff x="5354974" y="1035853"/>
            <a:chExt cx="6230527" cy="1167354"/>
          </a:xfrm>
        </p:grpSpPr>
        <p:sp>
          <p:nvSpPr>
            <p:cNvPr id="62" name="OE Name">
              <a:extLst>
                <a:ext uri="{FF2B5EF4-FFF2-40B4-BE49-F238E27FC236}">
                  <a16:creationId xmlns:a16="http://schemas.microsoft.com/office/drawing/2014/main" id="{374D5896-47EB-4632-8604-3EEE6878AEF2}"/>
                </a:ext>
              </a:extLst>
            </p:cNvPr>
            <p:cNvSpPr txBox="1"/>
            <p:nvPr/>
          </p:nvSpPr>
          <p:spPr>
            <a:xfrm>
              <a:off x="5354974" y="1035853"/>
              <a:ext cx="5574025" cy="44818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600" b="1"/>
                <a:t>S</a:t>
              </a:r>
              <a:r>
                <a:rPr lang="de-DE" sz="1600" b="1"/>
                <a:t>everity</a:t>
              </a:r>
              <a:endParaRPr sz="1600" b="1"/>
            </a:p>
          </p:txBody>
        </p:sp>
        <p:sp>
          <p:nvSpPr>
            <p:cNvPr id="63" name="Rectangle">
              <a:extLst>
                <a:ext uri="{FF2B5EF4-FFF2-40B4-BE49-F238E27FC236}">
                  <a16:creationId xmlns:a16="http://schemas.microsoft.com/office/drawing/2014/main" id="{04643570-9EC4-4A51-92B0-EF3CEB96E641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64" name="All">
              <a:extLst>
                <a:ext uri="{FF2B5EF4-FFF2-40B4-BE49-F238E27FC236}">
                  <a16:creationId xmlns:a16="http://schemas.microsoft.com/office/drawing/2014/main" id="{C863B257-358A-4EDF-AA11-40F898FF646E}"/>
                </a:ext>
              </a:extLst>
            </p:cNvPr>
            <p:cNvSpPr txBox="1"/>
            <p:nvPr/>
          </p:nvSpPr>
          <p:spPr>
            <a:xfrm>
              <a:off x="5354974" y="1438658"/>
              <a:ext cx="6230527" cy="7645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pPr algn="r"/>
              <a:r>
                <a:rPr lang="en-US" sz="1600"/>
                <a:t>€11.5k</a:t>
              </a:r>
            </a:p>
            <a:p>
              <a:pPr algn="r"/>
              <a:r>
                <a:rPr lang="en-US" sz="1600"/>
                <a:t>Prior 5 year average: €11.8k</a:t>
              </a:r>
              <a:endParaRPr sz="1600"/>
            </a:p>
          </p:txBody>
        </p:sp>
      </p:grpSp>
      <p:grpSp>
        <p:nvGrpSpPr>
          <p:cNvPr id="65" name="Gruppieren 31">
            <a:extLst>
              <a:ext uri="{FF2B5EF4-FFF2-40B4-BE49-F238E27FC236}">
                <a16:creationId xmlns:a16="http://schemas.microsoft.com/office/drawing/2014/main" id="{D21A88B3-F49F-4155-84C7-9BEF2C3473C6}"/>
              </a:ext>
            </a:extLst>
          </p:cNvPr>
          <p:cNvGrpSpPr>
            <a:grpSpLocks noChangeAspect="1"/>
          </p:cNvGrpSpPr>
          <p:nvPr/>
        </p:nvGrpSpPr>
        <p:grpSpPr>
          <a:xfrm>
            <a:off x="10362697" y="3693832"/>
            <a:ext cx="2852045" cy="908530"/>
            <a:chOff x="5354974" y="1035853"/>
            <a:chExt cx="6230527" cy="1167356"/>
          </a:xfrm>
        </p:grpSpPr>
        <p:sp>
          <p:nvSpPr>
            <p:cNvPr id="66" name="OE Name">
              <a:extLst>
                <a:ext uri="{FF2B5EF4-FFF2-40B4-BE49-F238E27FC236}">
                  <a16:creationId xmlns:a16="http://schemas.microsoft.com/office/drawing/2014/main" id="{5A9B9D3E-999B-4C1D-8B34-42165C3E4B25}"/>
                </a:ext>
              </a:extLst>
            </p:cNvPr>
            <p:cNvSpPr txBox="1"/>
            <p:nvPr/>
          </p:nvSpPr>
          <p:spPr>
            <a:xfrm>
              <a:off x="5354974" y="1035853"/>
              <a:ext cx="5574025" cy="44818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 sz="1600" b="1"/>
                <a:t>F</a:t>
              </a:r>
              <a:r>
                <a:rPr lang="de-DE" sz="1600" b="1"/>
                <a:t>requency</a:t>
              </a:r>
              <a:endParaRPr sz="1600" b="1"/>
            </a:p>
          </p:txBody>
        </p:sp>
        <p:sp>
          <p:nvSpPr>
            <p:cNvPr id="67" name="Rectangle">
              <a:extLst>
                <a:ext uri="{FF2B5EF4-FFF2-40B4-BE49-F238E27FC236}">
                  <a16:creationId xmlns:a16="http://schemas.microsoft.com/office/drawing/2014/main" id="{3E8113F9-CE5F-4E1F-9947-5A22F6AB17E1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68" name="All">
              <a:extLst>
                <a:ext uri="{FF2B5EF4-FFF2-40B4-BE49-F238E27FC236}">
                  <a16:creationId xmlns:a16="http://schemas.microsoft.com/office/drawing/2014/main" id="{CF37CE07-3C18-4B17-BDA0-080FF340EDC9}"/>
                </a:ext>
              </a:extLst>
            </p:cNvPr>
            <p:cNvSpPr txBox="1"/>
            <p:nvPr/>
          </p:nvSpPr>
          <p:spPr>
            <a:xfrm>
              <a:off x="5522193" y="1438659"/>
              <a:ext cx="6063308" cy="7645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pPr algn="r"/>
              <a:r>
                <a:rPr lang="en-US" sz="1600"/>
                <a:t>724.8</a:t>
              </a:r>
            </a:p>
            <a:p>
              <a:pPr algn="r"/>
              <a:r>
                <a:rPr lang="en-US" sz="1600"/>
                <a:t>Prior 5 year average: 1.2k</a:t>
              </a:r>
              <a:endParaRPr sz="1600"/>
            </a:p>
          </p:txBody>
        </p:sp>
      </p:grpSp>
      <p:sp>
        <p:nvSpPr>
          <p:cNvPr id="70" name="9">
            <a:extLst>
              <a:ext uri="{FF2B5EF4-FFF2-40B4-BE49-F238E27FC236}">
                <a16:creationId xmlns:a16="http://schemas.microsoft.com/office/drawing/2014/main" id="{F3EBB786-5EE0-4313-8714-8BEAA2E0583B}"/>
              </a:ext>
            </a:extLst>
          </p:cNvPr>
          <p:cNvSpPr txBox="1"/>
          <p:nvPr/>
        </p:nvSpPr>
        <p:spPr>
          <a:xfrm>
            <a:off x="3088934" y="5937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71" name="9">
            <a:extLst>
              <a:ext uri="{FF2B5EF4-FFF2-40B4-BE49-F238E27FC236}">
                <a16:creationId xmlns:a16="http://schemas.microsoft.com/office/drawing/2014/main" id="{AF45AF38-883D-426F-853F-00AA8F0AB494}"/>
              </a:ext>
            </a:extLst>
          </p:cNvPr>
          <p:cNvSpPr txBox="1"/>
          <p:nvPr/>
        </p:nvSpPr>
        <p:spPr>
          <a:xfrm>
            <a:off x="3185969" y="7070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72" name="Gerade Verbindung 347">
            <a:extLst>
              <a:ext uri="{FF2B5EF4-FFF2-40B4-BE49-F238E27FC236}">
                <a16:creationId xmlns:a16="http://schemas.microsoft.com/office/drawing/2014/main" id="{76BC4F35-EB91-4600-B02A-426037EB2602}"/>
              </a:ext>
            </a:extLst>
          </p:cNvPr>
          <p:cNvCxnSpPr>
            <a:cxnSpLocks/>
          </p:cNvCxnSpPr>
          <p:nvPr/>
        </p:nvCxnSpPr>
        <p:spPr>
          <a:xfrm flipH="1">
            <a:off x="3244154" y="70376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 Verbindung 347">
            <a:extLst>
              <a:ext uri="{FF2B5EF4-FFF2-40B4-BE49-F238E27FC236}">
                <a16:creationId xmlns:a16="http://schemas.microsoft.com/office/drawing/2014/main" id="{138AD2CB-58E0-49FF-B1A7-7417C392E753}"/>
              </a:ext>
            </a:extLst>
          </p:cNvPr>
          <p:cNvCxnSpPr>
            <a:cxnSpLocks/>
          </p:cNvCxnSpPr>
          <p:nvPr/>
        </p:nvCxnSpPr>
        <p:spPr>
          <a:xfrm flipH="1">
            <a:off x="3244154" y="79062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347">
            <a:extLst>
              <a:ext uri="{FF2B5EF4-FFF2-40B4-BE49-F238E27FC236}">
                <a16:creationId xmlns:a16="http://schemas.microsoft.com/office/drawing/2014/main" id="{61CAC691-4AF2-4F98-B4B2-933DE6AFE0FE}"/>
              </a:ext>
            </a:extLst>
          </p:cNvPr>
          <p:cNvCxnSpPr>
            <a:cxnSpLocks/>
          </p:cNvCxnSpPr>
          <p:nvPr/>
        </p:nvCxnSpPr>
        <p:spPr>
          <a:xfrm flipH="1">
            <a:off x="3244154" y="88380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347">
            <a:extLst>
              <a:ext uri="{FF2B5EF4-FFF2-40B4-BE49-F238E27FC236}">
                <a16:creationId xmlns:a16="http://schemas.microsoft.com/office/drawing/2014/main" id="{17D2E172-42FB-4B43-9C6E-5786FDF5B63C}"/>
              </a:ext>
            </a:extLst>
          </p:cNvPr>
          <p:cNvCxnSpPr>
            <a:cxnSpLocks/>
          </p:cNvCxnSpPr>
          <p:nvPr/>
        </p:nvCxnSpPr>
        <p:spPr>
          <a:xfrm flipH="1">
            <a:off x="3244154" y="97046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echteck 62">
            <a:extLst>
              <a:ext uri="{FF2B5EF4-FFF2-40B4-BE49-F238E27FC236}">
                <a16:creationId xmlns:a16="http://schemas.microsoft.com/office/drawing/2014/main" id="{57014091-C967-4317-9A36-2DA37E7A5575}"/>
              </a:ext>
            </a:extLst>
          </p:cNvPr>
          <p:cNvSpPr/>
          <p:nvPr/>
        </p:nvSpPr>
        <p:spPr>
          <a:xfrm>
            <a:off x="869389" y="53355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7" name="Risk Hazard Group">
            <a:extLst>
              <a:ext uri="{FF2B5EF4-FFF2-40B4-BE49-F238E27FC236}">
                <a16:creationId xmlns:a16="http://schemas.microsoft.com/office/drawing/2014/main" id="{8532AFB5-2EC4-401E-96E2-97D0A064E6EB}"/>
              </a:ext>
            </a:extLst>
          </p:cNvPr>
          <p:cNvSpPr txBox="1"/>
          <p:nvPr/>
        </p:nvSpPr>
        <p:spPr>
          <a:xfrm>
            <a:off x="959026" y="54672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Loss Ratio</a:t>
            </a:r>
            <a:endParaRPr/>
          </a:p>
        </p:txBody>
      </p:sp>
      <p:sp>
        <p:nvSpPr>
          <p:cNvPr id="78" name="9">
            <a:extLst>
              <a:ext uri="{FF2B5EF4-FFF2-40B4-BE49-F238E27FC236}">
                <a16:creationId xmlns:a16="http://schemas.microsoft.com/office/drawing/2014/main" id="{EE24E391-72BD-43EF-8F5A-C74570124100}"/>
              </a:ext>
            </a:extLst>
          </p:cNvPr>
          <p:cNvSpPr txBox="1"/>
          <p:nvPr/>
        </p:nvSpPr>
        <p:spPr>
          <a:xfrm>
            <a:off x="1659829" y="66462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79" name="Gruppieren 345">
            <a:extLst>
              <a:ext uri="{FF2B5EF4-FFF2-40B4-BE49-F238E27FC236}">
                <a16:creationId xmlns:a16="http://schemas.microsoft.com/office/drawing/2014/main" id="{7E6D4D04-1A3F-4F1A-A892-568F09068251}"/>
              </a:ext>
            </a:extLst>
          </p:cNvPr>
          <p:cNvGrpSpPr/>
          <p:nvPr/>
        </p:nvGrpSpPr>
        <p:grpSpPr>
          <a:xfrm>
            <a:off x="8706971" y="7319582"/>
            <a:ext cx="898623" cy="3221696"/>
            <a:chOff x="4630720" y="4527741"/>
            <a:chExt cx="898623" cy="3528900"/>
          </a:xfrm>
        </p:grpSpPr>
        <p:sp>
          <p:nvSpPr>
            <p:cNvPr id="80" name="9">
              <a:extLst>
                <a:ext uri="{FF2B5EF4-FFF2-40B4-BE49-F238E27FC236}">
                  <a16:creationId xmlns:a16="http://schemas.microsoft.com/office/drawing/2014/main" id="{B66022EF-F4EE-40C6-BFE4-4F9FC8132CFC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1" name="9">
              <a:extLst>
                <a:ext uri="{FF2B5EF4-FFF2-40B4-BE49-F238E27FC236}">
                  <a16:creationId xmlns:a16="http://schemas.microsoft.com/office/drawing/2014/main" id="{BD8BD160-DD44-4203-84A4-44A75CB68140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2" name="9">
              <a:extLst>
                <a:ext uri="{FF2B5EF4-FFF2-40B4-BE49-F238E27FC236}">
                  <a16:creationId xmlns:a16="http://schemas.microsoft.com/office/drawing/2014/main" id="{17411CA1-BED9-4F82-8E51-1F205C1415AC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83" name="9">
              <a:extLst>
                <a:ext uri="{FF2B5EF4-FFF2-40B4-BE49-F238E27FC236}">
                  <a16:creationId xmlns:a16="http://schemas.microsoft.com/office/drawing/2014/main" id="{5781A01B-8CDC-4FA7-9551-74561D585C36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84" name="Gerade Verbindung 347">
            <a:extLst>
              <a:ext uri="{FF2B5EF4-FFF2-40B4-BE49-F238E27FC236}">
                <a16:creationId xmlns:a16="http://schemas.microsoft.com/office/drawing/2014/main" id="{318E279C-597E-4C6A-908E-8AC917AD0D40}"/>
              </a:ext>
            </a:extLst>
          </p:cNvPr>
          <p:cNvCxnSpPr/>
          <p:nvPr/>
        </p:nvCxnSpPr>
        <p:spPr>
          <a:xfrm>
            <a:off x="3244154" y="66462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Gerade Verbindung mit Pfeil 353">
            <a:extLst>
              <a:ext uri="{FF2B5EF4-FFF2-40B4-BE49-F238E27FC236}">
                <a16:creationId xmlns:a16="http://schemas.microsoft.com/office/drawing/2014/main" id="{D970D0B8-51A3-4455-AF2F-FF1ABB3CE4FC}"/>
              </a:ext>
            </a:extLst>
          </p:cNvPr>
          <p:cNvCxnSpPr>
            <a:cxnSpLocks/>
          </p:cNvCxnSpPr>
          <p:nvPr/>
        </p:nvCxnSpPr>
        <p:spPr>
          <a:xfrm>
            <a:off x="3244154" y="105846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9">
            <a:extLst>
              <a:ext uri="{FF2B5EF4-FFF2-40B4-BE49-F238E27FC236}">
                <a16:creationId xmlns:a16="http://schemas.microsoft.com/office/drawing/2014/main" id="{8F520A28-D69E-4406-A473-D37E0EDD96F8}"/>
              </a:ext>
            </a:extLst>
          </p:cNvPr>
          <p:cNvSpPr txBox="1"/>
          <p:nvPr/>
        </p:nvSpPr>
        <p:spPr>
          <a:xfrm>
            <a:off x="1608267" y="76976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93" name="Gruppieren 345">
            <a:extLst>
              <a:ext uri="{FF2B5EF4-FFF2-40B4-BE49-F238E27FC236}">
                <a16:creationId xmlns:a16="http://schemas.microsoft.com/office/drawing/2014/main" id="{0544CD8B-2096-43CA-8984-B679334E32A6}"/>
              </a:ext>
            </a:extLst>
          </p:cNvPr>
          <p:cNvGrpSpPr/>
          <p:nvPr/>
        </p:nvGrpSpPr>
        <p:grpSpPr>
          <a:xfrm>
            <a:off x="3811485" y="8552024"/>
            <a:ext cx="898623" cy="1989145"/>
            <a:chOff x="4630720" y="5877816"/>
            <a:chExt cx="898623" cy="2178824"/>
          </a:xfrm>
        </p:grpSpPr>
        <p:sp>
          <p:nvSpPr>
            <p:cNvPr id="106" name="9">
              <a:extLst>
                <a:ext uri="{FF2B5EF4-FFF2-40B4-BE49-F238E27FC236}">
                  <a16:creationId xmlns:a16="http://schemas.microsoft.com/office/drawing/2014/main" id="{27E7A294-CB9C-4A01-B4DC-95D8A472106C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26" name="9">
              <a:extLst>
                <a:ext uri="{FF2B5EF4-FFF2-40B4-BE49-F238E27FC236}">
                  <a16:creationId xmlns:a16="http://schemas.microsoft.com/office/drawing/2014/main" id="{47366CBA-07A8-401B-BD56-4D3B67F518F0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27" name="9">
              <a:extLst>
                <a:ext uri="{FF2B5EF4-FFF2-40B4-BE49-F238E27FC236}">
                  <a16:creationId xmlns:a16="http://schemas.microsoft.com/office/drawing/2014/main" id="{BC947B09-ADE3-446A-BCFB-5242F4901919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28" name="9">
              <a:extLst>
                <a:ext uri="{FF2B5EF4-FFF2-40B4-BE49-F238E27FC236}">
                  <a16:creationId xmlns:a16="http://schemas.microsoft.com/office/drawing/2014/main" id="{34B0DC99-E7A7-42D1-97FE-87A1C946D862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29" name="9">
            <a:extLst>
              <a:ext uri="{FF2B5EF4-FFF2-40B4-BE49-F238E27FC236}">
                <a16:creationId xmlns:a16="http://schemas.microsoft.com/office/drawing/2014/main" id="{1D8A78BA-E6B6-433A-811F-39F7311A3A8A}"/>
              </a:ext>
            </a:extLst>
          </p:cNvPr>
          <p:cNvSpPr txBox="1"/>
          <p:nvPr/>
        </p:nvSpPr>
        <p:spPr>
          <a:xfrm>
            <a:off x="3950342" y="10275343"/>
            <a:ext cx="659008" cy="121058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de-DE" sz="1200"/>
              <a:t>Agriculture, forestry &amp; fishing</a:t>
            </a:r>
          </a:p>
          <a:p>
            <a:pPr algn="ctr"/>
            <a:endParaRPr/>
          </a:p>
        </p:txBody>
      </p:sp>
      <p:grpSp>
        <p:nvGrpSpPr>
          <p:cNvPr id="130" name="Gruppieren 345">
            <a:extLst>
              <a:ext uri="{FF2B5EF4-FFF2-40B4-BE49-F238E27FC236}">
                <a16:creationId xmlns:a16="http://schemas.microsoft.com/office/drawing/2014/main" id="{35FEDFD4-E4EA-481C-BF89-7A4A36AA0F59}"/>
              </a:ext>
            </a:extLst>
          </p:cNvPr>
          <p:cNvGrpSpPr/>
          <p:nvPr/>
        </p:nvGrpSpPr>
        <p:grpSpPr>
          <a:xfrm>
            <a:off x="5411738" y="8168977"/>
            <a:ext cx="898623" cy="2372312"/>
            <a:chOff x="4630720" y="5710885"/>
            <a:chExt cx="898623" cy="2345755"/>
          </a:xfrm>
        </p:grpSpPr>
        <p:sp>
          <p:nvSpPr>
            <p:cNvPr id="131" name="9">
              <a:extLst>
                <a:ext uri="{FF2B5EF4-FFF2-40B4-BE49-F238E27FC236}">
                  <a16:creationId xmlns:a16="http://schemas.microsoft.com/office/drawing/2014/main" id="{9E836694-5233-4A1A-8AC5-06B456805C62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2" name="9">
              <a:extLst>
                <a:ext uri="{FF2B5EF4-FFF2-40B4-BE49-F238E27FC236}">
                  <a16:creationId xmlns:a16="http://schemas.microsoft.com/office/drawing/2014/main" id="{EA5729CC-8919-4625-B507-6BC487AFAB54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3" name="9">
              <a:extLst>
                <a:ext uri="{FF2B5EF4-FFF2-40B4-BE49-F238E27FC236}">
                  <a16:creationId xmlns:a16="http://schemas.microsoft.com/office/drawing/2014/main" id="{582E0981-4A98-4326-9C2C-68B538423B3F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4" name="9">
              <a:extLst>
                <a:ext uri="{FF2B5EF4-FFF2-40B4-BE49-F238E27FC236}">
                  <a16:creationId xmlns:a16="http://schemas.microsoft.com/office/drawing/2014/main" id="{EE077FD9-B8A9-486D-BA19-D6FBBC3A7583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35" name="9">
            <a:extLst>
              <a:ext uri="{FF2B5EF4-FFF2-40B4-BE49-F238E27FC236}">
                <a16:creationId xmlns:a16="http://schemas.microsoft.com/office/drawing/2014/main" id="{8A288481-2B42-4473-AA7D-C481A116EC01}"/>
              </a:ext>
            </a:extLst>
          </p:cNvPr>
          <p:cNvSpPr txBox="1"/>
          <p:nvPr/>
        </p:nvSpPr>
        <p:spPr>
          <a:xfrm>
            <a:off x="5581627" y="10376182"/>
            <a:ext cx="659008" cy="102592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de-DE" sz="1200"/>
              <a:t>Textile &amp; Tobacco MF-8 </a:t>
            </a:r>
          </a:p>
          <a:p>
            <a:pPr algn="ctr"/>
            <a:endParaRPr/>
          </a:p>
        </p:txBody>
      </p:sp>
      <p:grpSp>
        <p:nvGrpSpPr>
          <p:cNvPr id="136" name="Gruppieren 345">
            <a:extLst>
              <a:ext uri="{FF2B5EF4-FFF2-40B4-BE49-F238E27FC236}">
                <a16:creationId xmlns:a16="http://schemas.microsoft.com/office/drawing/2014/main" id="{49CDC139-8735-47A8-936B-D5D6CF199856}"/>
              </a:ext>
            </a:extLst>
          </p:cNvPr>
          <p:cNvGrpSpPr/>
          <p:nvPr/>
        </p:nvGrpSpPr>
        <p:grpSpPr>
          <a:xfrm>
            <a:off x="7043576" y="7894105"/>
            <a:ext cx="898623" cy="2647067"/>
            <a:chOff x="4630720" y="5157159"/>
            <a:chExt cx="898623" cy="2899481"/>
          </a:xfrm>
        </p:grpSpPr>
        <p:sp>
          <p:nvSpPr>
            <p:cNvPr id="137" name="9">
              <a:extLst>
                <a:ext uri="{FF2B5EF4-FFF2-40B4-BE49-F238E27FC236}">
                  <a16:creationId xmlns:a16="http://schemas.microsoft.com/office/drawing/2014/main" id="{621F0C90-4539-429E-A594-5A333A7C99C3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8" name="9">
              <a:extLst>
                <a:ext uri="{FF2B5EF4-FFF2-40B4-BE49-F238E27FC236}">
                  <a16:creationId xmlns:a16="http://schemas.microsoft.com/office/drawing/2014/main" id="{9361C2F6-7DE7-4313-B654-2DBC3EC46649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39" name="9">
              <a:extLst>
                <a:ext uri="{FF2B5EF4-FFF2-40B4-BE49-F238E27FC236}">
                  <a16:creationId xmlns:a16="http://schemas.microsoft.com/office/drawing/2014/main" id="{8AFDE089-210D-4CB4-908B-3AA82526111F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40" name="9">
              <a:extLst>
                <a:ext uri="{FF2B5EF4-FFF2-40B4-BE49-F238E27FC236}">
                  <a16:creationId xmlns:a16="http://schemas.microsoft.com/office/drawing/2014/main" id="{4EED3DB5-9AB8-4C5E-A0F3-061A19CEDAB1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41" name="9">
            <a:extLst>
              <a:ext uri="{FF2B5EF4-FFF2-40B4-BE49-F238E27FC236}">
                <a16:creationId xmlns:a16="http://schemas.microsoft.com/office/drawing/2014/main" id="{7CE80046-17C5-4D55-9F27-F168E192FC8C}"/>
              </a:ext>
            </a:extLst>
          </p:cNvPr>
          <p:cNvSpPr txBox="1"/>
          <p:nvPr/>
        </p:nvSpPr>
        <p:spPr>
          <a:xfrm>
            <a:off x="7195350" y="107309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….</a:t>
            </a:r>
          </a:p>
        </p:txBody>
      </p:sp>
      <p:sp>
        <p:nvSpPr>
          <p:cNvPr id="142" name="9">
            <a:extLst>
              <a:ext uri="{FF2B5EF4-FFF2-40B4-BE49-F238E27FC236}">
                <a16:creationId xmlns:a16="http://schemas.microsoft.com/office/drawing/2014/main" id="{3606C8D4-4C41-4743-8D9D-586E9CD39C9B}"/>
              </a:ext>
            </a:extLst>
          </p:cNvPr>
          <p:cNvSpPr txBox="1"/>
          <p:nvPr/>
        </p:nvSpPr>
        <p:spPr>
          <a:xfrm>
            <a:off x="8860446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….</a:t>
            </a:r>
          </a:p>
        </p:txBody>
      </p:sp>
      <p:grpSp>
        <p:nvGrpSpPr>
          <p:cNvPr id="143" name="Gruppieren 345">
            <a:extLst>
              <a:ext uri="{FF2B5EF4-FFF2-40B4-BE49-F238E27FC236}">
                <a16:creationId xmlns:a16="http://schemas.microsoft.com/office/drawing/2014/main" id="{6B5AD3F6-F9E4-4CE8-AE29-1365DCE4608F}"/>
              </a:ext>
            </a:extLst>
          </p:cNvPr>
          <p:cNvGrpSpPr/>
          <p:nvPr/>
        </p:nvGrpSpPr>
        <p:grpSpPr>
          <a:xfrm>
            <a:off x="10354562" y="7894105"/>
            <a:ext cx="898623" cy="2647067"/>
            <a:chOff x="4630720" y="5157159"/>
            <a:chExt cx="898623" cy="2899481"/>
          </a:xfrm>
        </p:grpSpPr>
        <p:sp>
          <p:nvSpPr>
            <p:cNvPr id="144" name="9">
              <a:extLst>
                <a:ext uri="{FF2B5EF4-FFF2-40B4-BE49-F238E27FC236}">
                  <a16:creationId xmlns:a16="http://schemas.microsoft.com/office/drawing/2014/main" id="{DE04760E-D9BB-45BE-B9CC-792186F3D738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45" name="9">
              <a:extLst>
                <a:ext uri="{FF2B5EF4-FFF2-40B4-BE49-F238E27FC236}">
                  <a16:creationId xmlns:a16="http://schemas.microsoft.com/office/drawing/2014/main" id="{78DCBE00-C3B9-4DD1-94F2-67A48E378843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46" name="9">
              <a:extLst>
                <a:ext uri="{FF2B5EF4-FFF2-40B4-BE49-F238E27FC236}">
                  <a16:creationId xmlns:a16="http://schemas.microsoft.com/office/drawing/2014/main" id="{C79EF715-1DA0-49ED-9C03-9C092BAEEE07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47" name="9">
              <a:extLst>
                <a:ext uri="{FF2B5EF4-FFF2-40B4-BE49-F238E27FC236}">
                  <a16:creationId xmlns:a16="http://schemas.microsoft.com/office/drawing/2014/main" id="{B85A9475-95AF-4D6A-A42E-141BE08156BB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148" name="9">
            <a:extLst>
              <a:ext uri="{FF2B5EF4-FFF2-40B4-BE49-F238E27FC236}">
                <a16:creationId xmlns:a16="http://schemas.microsoft.com/office/drawing/2014/main" id="{F312E305-2128-4E45-8098-594D783C5A8A}"/>
              </a:ext>
            </a:extLst>
          </p:cNvPr>
          <p:cNvSpPr txBox="1"/>
          <p:nvPr/>
        </p:nvSpPr>
        <p:spPr>
          <a:xfrm>
            <a:off x="10474368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….</a:t>
            </a:r>
          </a:p>
        </p:txBody>
      </p:sp>
      <p:sp>
        <p:nvSpPr>
          <p:cNvPr id="149" name="9">
            <a:extLst>
              <a:ext uri="{FF2B5EF4-FFF2-40B4-BE49-F238E27FC236}">
                <a16:creationId xmlns:a16="http://schemas.microsoft.com/office/drawing/2014/main" id="{3302B6C1-98CE-4DF6-970B-674A520387BD}"/>
              </a:ext>
            </a:extLst>
          </p:cNvPr>
          <p:cNvSpPr txBox="1"/>
          <p:nvPr/>
        </p:nvSpPr>
        <p:spPr>
          <a:xfrm>
            <a:off x="2198502" y="95624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150" name="9">
            <a:extLst>
              <a:ext uri="{FF2B5EF4-FFF2-40B4-BE49-F238E27FC236}">
                <a16:creationId xmlns:a16="http://schemas.microsoft.com/office/drawing/2014/main" id="{C814A5E7-66A5-4D10-A7FF-DEABB3F0513D}"/>
              </a:ext>
            </a:extLst>
          </p:cNvPr>
          <p:cNvSpPr txBox="1"/>
          <p:nvPr/>
        </p:nvSpPr>
        <p:spPr>
          <a:xfrm>
            <a:off x="2198502" y="86963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151" name="9">
            <a:extLst>
              <a:ext uri="{FF2B5EF4-FFF2-40B4-BE49-F238E27FC236}">
                <a16:creationId xmlns:a16="http://schemas.microsoft.com/office/drawing/2014/main" id="{56358C4A-C3BC-4B9B-844E-A4E67416C202}"/>
              </a:ext>
            </a:extLst>
          </p:cNvPr>
          <p:cNvSpPr txBox="1"/>
          <p:nvPr/>
        </p:nvSpPr>
        <p:spPr>
          <a:xfrm>
            <a:off x="2224532" y="77626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152" name="9">
            <a:extLst>
              <a:ext uri="{FF2B5EF4-FFF2-40B4-BE49-F238E27FC236}">
                <a16:creationId xmlns:a16="http://schemas.microsoft.com/office/drawing/2014/main" id="{320CFA9A-A8A4-4EE6-B86C-52E35B43BC23}"/>
              </a:ext>
            </a:extLst>
          </p:cNvPr>
          <p:cNvSpPr txBox="1"/>
          <p:nvPr/>
        </p:nvSpPr>
        <p:spPr>
          <a:xfrm>
            <a:off x="2224532" y="68959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153" name="Table 152">
            <a:extLst>
              <a:ext uri="{FF2B5EF4-FFF2-40B4-BE49-F238E27FC236}">
                <a16:creationId xmlns:a16="http://schemas.microsoft.com/office/drawing/2014/main" id="{B02F6D87-1C0D-4EC9-A599-F5F90A764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208173"/>
              </p:ext>
            </p:extLst>
          </p:nvPr>
        </p:nvGraphicFramePr>
        <p:xfrm>
          <a:off x="6525836" y="11686878"/>
          <a:ext cx="3861728" cy="12232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ttritiona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Medium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arge</a:t>
                      </a:r>
                    </a:p>
                    <a:p>
                      <a:pPr algn="l"/>
                      <a:endParaRPr lang="en-US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a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154" name="9">
            <a:extLst>
              <a:ext uri="{FF2B5EF4-FFF2-40B4-BE49-F238E27FC236}">
                <a16:creationId xmlns:a16="http://schemas.microsoft.com/office/drawing/2014/main" id="{ACA19C9F-CDBA-44B8-A9AB-F598AC0FACDF}"/>
              </a:ext>
            </a:extLst>
          </p:cNvPr>
          <p:cNvSpPr txBox="1"/>
          <p:nvPr/>
        </p:nvSpPr>
        <p:spPr>
          <a:xfrm>
            <a:off x="5733582" y="117514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55" name="9">
            <a:extLst>
              <a:ext uri="{FF2B5EF4-FFF2-40B4-BE49-F238E27FC236}">
                <a16:creationId xmlns:a16="http://schemas.microsoft.com/office/drawing/2014/main" id="{F88C4969-40F8-4EE0-8332-484B1D6EAEA8}"/>
              </a:ext>
            </a:extLst>
          </p:cNvPr>
          <p:cNvSpPr txBox="1"/>
          <p:nvPr/>
        </p:nvSpPr>
        <p:spPr>
          <a:xfrm>
            <a:off x="5733582" y="120473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56" name="9">
            <a:extLst>
              <a:ext uri="{FF2B5EF4-FFF2-40B4-BE49-F238E27FC236}">
                <a16:creationId xmlns:a16="http://schemas.microsoft.com/office/drawing/2014/main" id="{19B11DBC-9D6F-452F-ABD8-81F64C103AF7}"/>
              </a:ext>
            </a:extLst>
          </p:cNvPr>
          <p:cNvSpPr txBox="1"/>
          <p:nvPr/>
        </p:nvSpPr>
        <p:spPr>
          <a:xfrm>
            <a:off x="5733582" y="123518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7E64066E-87E9-482D-BB63-7638142FE9B4}"/>
              </a:ext>
            </a:extLst>
          </p:cNvPr>
          <p:cNvSpPr txBox="1"/>
          <p:nvPr/>
        </p:nvSpPr>
        <p:spPr>
          <a:xfrm>
            <a:off x="908552" y="6056540"/>
            <a:ext cx="8786132" cy="841256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>
                <a:solidFill>
                  <a:srgbClr val="00B050"/>
                </a:solidFill>
                <a:latin typeface="-apple-system"/>
              </a:rPr>
              <a:t>I</a:t>
            </a: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nsight of loss ratio split by claim type, by choice of category or by is available in another ALEX report</a:t>
            </a:r>
            <a:endParaRPr kumimoji="0" lang="de-DE" sz="2400" b="1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4" name="9">
            <a:extLst>
              <a:ext uri="{FF2B5EF4-FFF2-40B4-BE49-F238E27FC236}">
                <a16:creationId xmlns:a16="http://schemas.microsoft.com/office/drawing/2014/main" id="{3969871B-92A5-42F7-8AC5-754F1E169346}"/>
              </a:ext>
            </a:extLst>
          </p:cNvPr>
          <p:cNvSpPr txBox="1"/>
          <p:nvPr/>
        </p:nvSpPr>
        <p:spPr>
          <a:xfrm rot="5400000">
            <a:off x="5721066" y="12689260"/>
            <a:ext cx="175982" cy="150950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65" name="9">
            <a:extLst>
              <a:ext uri="{FF2B5EF4-FFF2-40B4-BE49-F238E27FC236}">
                <a16:creationId xmlns:a16="http://schemas.microsoft.com/office/drawing/2014/main" id="{EB5F25C2-250F-4233-81DF-B0B08AEACAC6}"/>
              </a:ext>
            </a:extLst>
          </p:cNvPr>
          <p:cNvSpPr txBox="1"/>
          <p:nvPr/>
        </p:nvSpPr>
        <p:spPr>
          <a:xfrm>
            <a:off x="14722134" y="5937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66" name="9">
            <a:extLst>
              <a:ext uri="{FF2B5EF4-FFF2-40B4-BE49-F238E27FC236}">
                <a16:creationId xmlns:a16="http://schemas.microsoft.com/office/drawing/2014/main" id="{977E732A-EE83-4B5B-8D81-427081E71FF9}"/>
              </a:ext>
            </a:extLst>
          </p:cNvPr>
          <p:cNvSpPr txBox="1"/>
          <p:nvPr/>
        </p:nvSpPr>
        <p:spPr>
          <a:xfrm>
            <a:off x="14819169" y="7070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167" name="Gerade Verbindung 347">
            <a:extLst>
              <a:ext uri="{FF2B5EF4-FFF2-40B4-BE49-F238E27FC236}">
                <a16:creationId xmlns:a16="http://schemas.microsoft.com/office/drawing/2014/main" id="{F4B004B5-6C49-4BD6-B611-7B1FBCB7ADC3}"/>
              </a:ext>
            </a:extLst>
          </p:cNvPr>
          <p:cNvCxnSpPr>
            <a:cxnSpLocks/>
          </p:cNvCxnSpPr>
          <p:nvPr/>
        </p:nvCxnSpPr>
        <p:spPr>
          <a:xfrm flipH="1">
            <a:off x="14877354" y="70376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Gerade Verbindung 347">
            <a:extLst>
              <a:ext uri="{FF2B5EF4-FFF2-40B4-BE49-F238E27FC236}">
                <a16:creationId xmlns:a16="http://schemas.microsoft.com/office/drawing/2014/main" id="{9E4D03EF-9C22-4A0F-9757-05B269461569}"/>
              </a:ext>
            </a:extLst>
          </p:cNvPr>
          <p:cNvCxnSpPr>
            <a:cxnSpLocks/>
          </p:cNvCxnSpPr>
          <p:nvPr/>
        </p:nvCxnSpPr>
        <p:spPr>
          <a:xfrm flipH="1">
            <a:off x="14877354" y="79062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347">
            <a:extLst>
              <a:ext uri="{FF2B5EF4-FFF2-40B4-BE49-F238E27FC236}">
                <a16:creationId xmlns:a16="http://schemas.microsoft.com/office/drawing/2014/main" id="{A73A8658-7E66-4A3D-8204-641C03E0D752}"/>
              </a:ext>
            </a:extLst>
          </p:cNvPr>
          <p:cNvCxnSpPr>
            <a:cxnSpLocks/>
          </p:cNvCxnSpPr>
          <p:nvPr/>
        </p:nvCxnSpPr>
        <p:spPr>
          <a:xfrm flipH="1">
            <a:off x="14877354" y="88380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 Verbindung 347">
            <a:extLst>
              <a:ext uri="{FF2B5EF4-FFF2-40B4-BE49-F238E27FC236}">
                <a16:creationId xmlns:a16="http://schemas.microsoft.com/office/drawing/2014/main" id="{82F46A55-3142-4D2C-9B6E-44B990FB0E23}"/>
              </a:ext>
            </a:extLst>
          </p:cNvPr>
          <p:cNvCxnSpPr>
            <a:cxnSpLocks/>
          </p:cNvCxnSpPr>
          <p:nvPr/>
        </p:nvCxnSpPr>
        <p:spPr>
          <a:xfrm flipH="1">
            <a:off x="14877354" y="97046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Rechteck 62">
            <a:extLst>
              <a:ext uri="{FF2B5EF4-FFF2-40B4-BE49-F238E27FC236}">
                <a16:creationId xmlns:a16="http://schemas.microsoft.com/office/drawing/2014/main" id="{8DA52E76-5ACF-4CF6-B799-FC4174AF9AB3}"/>
              </a:ext>
            </a:extLst>
          </p:cNvPr>
          <p:cNvSpPr/>
          <p:nvPr/>
        </p:nvSpPr>
        <p:spPr>
          <a:xfrm>
            <a:off x="12502589" y="53355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72" name="Risk Hazard Group">
            <a:extLst>
              <a:ext uri="{FF2B5EF4-FFF2-40B4-BE49-F238E27FC236}">
                <a16:creationId xmlns:a16="http://schemas.microsoft.com/office/drawing/2014/main" id="{BCB44BE8-1FE7-49A1-87B3-9829B77A6361}"/>
              </a:ext>
            </a:extLst>
          </p:cNvPr>
          <p:cNvSpPr txBox="1"/>
          <p:nvPr/>
        </p:nvSpPr>
        <p:spPr>
          <a:xfrm>
            <a:off x="12592226" y="54672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Loss Ratio</a:t>
            </a:r>
            <a:endParaRPr/>
          </a:p>
        </p:txBody>
      </p:sp>
      <p:sp>
        <p:nvSpPr>
          <p:cNvPr id="173" name="9">
            <a:extLst>
              <a:ext uri="{FF2B5EF4-FFF2-40B4-BE49-F238E27FC236}">
                <a16:creationId xmlns:a16="http://schemas.microsoft.com/office/drawing/2014/main" id="{8C07BEBC-BA22-42A4-B74F-B05CC11E3ECB}"/>
              </a:ext>
            </a:extLst>
          </p:cNvPr>
          <p:cNvSpPr txBox="1"/>
          <p:nvPr/>
        </p:nvSpPr>
        <p:spPr>
          <a:xfrm>
            <a:off x="13293029" y="66462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cxnSp>
        <p:nvCxnSpPr>
          <p:cNvPr id="179" name="Gerade Verbindung 347">
            <a:extLst>
              <a:ext uri="{FF2B5EF4-FFF2-40B4-BE49-F238E27FC236}">
                <a16:creationId xmlns:a16="http://schemas.microsoft.com/office/drawing/2014/main" id="{96EE8D90-4192-4CB3-85B4-66133482A5E6}"/>
              </a:ext>
            </a:extLst>
          </p:cNvPr>
          <p:cNvCxnSpPr/>
          <p:nvPr/>
        </p:nvCxnSpPr>
        <p:spPr>
          <a:xfrm>
            <a:off x="14877354" y="66462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353">
            <a:extLst>
              <a:ext uri="{FF2B5EF4-FFF2-40B4-BE49-F238E27FC236}">
                <a16:creationId xmlns:a16="http://schemas.microsoft.com/office/drawing/2014/main" id="{9262CB0E-5381-494F-A9F5-CE119662C75E}"/>
              </a:ext>
            </a:extLst>
          </p:cNvPr>
          <p:cNvCxnSpPr>
            <a:cxnSpLocks/>
          </p:cNvCxnSpPr>
          <p:nvPr/>
        </p:nvCxnSpPr>
        <p:spPr>
          <a:xfrm>
            <a:off x="14877354" y="105846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1" name="9">
            <a:extLst>
              <a:ext uri="{FF2B5EF4-FFF2-40B4-BE49-F238E27FC236}">
                <a16:creationId xmlns:a16="http://schemas.microsoft.com/office/drawing/2014/main" id="{9480D3EF-8467-4C10-8FEA-83FAE0B12A99}"/>
              </a:ext>
            </a:extLst>
          </p:cNvPr>
          <p:cNvSpPr txBox="1"/>
          <p:nvPr/>
        </p:nvSpPr>
        <p:spPr>
          <a:xfrm>
            <a:off x="13241467" y="76976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186" name="9">
            <a:extLst>
              <a:ext uri="{FF2B5EF4-FFF2-40B4-BE49-F238E27FC236}">
                <a16:creationId xmlns:a16="http://schemas.microsoft.com/office/drawing/2014/main" id="{06F44FF7-41BC-4A64-8C69-E8076893B6F0}"/>
              </a:ext>
            </a:extLst>
          </p:cNvPr>
          <p:cNvSpPr txBox="1"/>
          <p:nvPr/>
        </p:nvSpPr>
        <p:spPr>
          <a:xfrm>
            <a:off x="15102220" y="9294460"/>
            <a:ext cx="260932" cy="1292024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87" name="9">
            <a:extLst>
              <a:ext uri="{FF2B5EF4-FFF2-40B4-BE49-F238E27FC236}">
                <a16:creationId xmlns:a16="http://schemas.microsoft.com/office/drawing/2014/main" id="{5B714503-BFDC-4E8D-923B-8A806FEB7B1F}"/>
              </a:ext>
            </a:extLst>
          </p:cNvPr>
          <p:cNvSpPr txBox="1"/>
          <p:nvPr/>
        </p:nvSpPr>
        <p:spPr>
          <a:xfrm>
            <a:off x="15583542" y="107370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sp>
        <p:nvSpPr>
          <p:cNvPr id="193" name="9">
            <a:extLst>
              <a:ext uri="{FF2B5EF4-FFF2-40B4-BE49-F238E27FC236}">
                <a16:creationId xmlns:a16="http://schemas.microsoft.com/office/drawing/2014/main" id="{5EDCB8BB-EC5C-4575-8CE3-3E122E38CC14}"/>
              </a:ext>
            </a:extLst>
          </p:cNvPr>
          <p:cNvSpPr txBox="1"/>
          <p:nvPr/>
        </p:nvSpPr>
        <p:spPr>
          <a:xfrm>
            <a:off x="17164027" y="107455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sp>
        <p:nvSpPr>
          <p:cNvPr id="199" name="9">
            <a:extLst>
              <a:ext uri="{FF2B5EF4-FFF2-40B4-BE49-F238E27FC236}">
                <a16:creationId xmlns:a16="http://schemas.microsoft.com/office/drawing/2014/main" id="{087F1D77-634B-4EFB-9EA2-5086D671CBF1}"/>
              </a:ext>
            </a:extLst>
          </p:cNvPr>
          <p:cNvSpPr txBox="1"/>
          <p:nvPr/>
        </p:nvSpPr>
        <p:spPr>
          <a:xfrm>
            <a:off x="18803150" y="107309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200" name="9">
            <a:extLst>
              <a:ext uri="{FF2B5EF4-FFF2-40B4-BE49-F238E27FC236}">
                <a16:creationId xmlns:a16="http://schemas.microsoft.com/office/drawing/2014/main" id="{FF688A8E-A55A-47B2-8C00-2E8EF42B6B70}"/>
              </a:ext>
            </a:extLst>
          </p:cNvPr>
          <p:cNvSpPr txBox="1"/>
          <p:nvPr/>
        </p:nvSpPr>
        <p:spPr>
          <a:xfrm>
            <a:off x="20493646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sp>
        <p:nvSpPr>
          <p:cNvPr id="206" name="9">
            <a:extLst>
              <a:ext uri="{FF2B5EF4-FFF2-40B4-BE49-F238E27FC236}">
                <a16:creationId xmlns:a16="http://schemas.microsoft.com/office/drawing/2014/main" id="{E600DDE4-37BA-4ADF-8465-4DAEEA3AF944}"/>
              </a:ext>
            </a:extLst>
          </p:cNvPr>
          <p:cNvSpPr txBox="1"/>
          <p:nvPr/>
        </p:nvSpPr>
        <p:spPr>
          <a:xfrm>
            <a:off x="22107568" y="10702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207" name="9">
            <a:extLst>
              <a:ext uri="{FF2B5EF4-FFF2-40B4-BE49-F238E27FC236}">
                <a16:creationId xmlns:a16="http://schemas.microsoft.com/office/drawing/2014/main" id="{6A852F3E-E441-4186-B31C-F65EECF1A6EC}"/>
              </a:ext>
            </a:extLst>
          </p:cNvPr>
          <p:cNvSpPr txBox="1"/>
          <p:nvPr/>
        </p:nvSpPr>
        <p:spPr>
          <a:xfrm>
            <a:off x="13831702" y="95624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208" name="9">
            <a:extLst>
              <a:ext uri="{FF2B5EF4-FFF2-40B4-BE49-F238E27FC236}">
                <a16:creationId xmlns:a16="http://schemas.microsoft.com/office/drawing/2014/main" id="{9CF09381-34AF-4D35-AEA9-91187BFD9FBB}"/>
              </a:ext>
            </a:extLst>
          </p:cNvPr>
          <p:cNvSpPr txBox="1"/>
          <p:nvPr/>
        </p:nvSpPr>
        <p:spPr>
          <a:xfrm>
            <a:off x="13831702" y="86963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209" name="9">
            <a:extLst>
              <a:ext uri="{FF2B5EF4-FFF2-40B4-BE49-F238E27FC236}">
                <a16:creationId xmlns:a16="http://schemas.microsoft.com/office/drawing/2014/main" id="{24B0E878-58CD-49F7-B79E-B756CD20AEFB}"/>
              </a:ext>
            </a:extLst>
          </p:cNvPr>
          <p:cNvSpPr txBox="1"/>
          <p:nvPr/>
        </p:nvSpPr>
        <p:spPr>
          <a:xfrm>
            <a:off x="13857732" y="77626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210" name="9">
            <a:extLst>
              <a:ext uri="{FF2B5EF4-FFF2-40B4-BE49-F238E27FC236}">
                <a16:creationId xmlns:a16="http://schemas.microsoft.com/office/drawing/2014/main" id="{FFF42433-34F3-4DF4-9F99-45FBE2959441}"/>
              </a:ext>
            </a:extLst>
          </p:cNvPr>
          <p:cNvSpPr txBox="1"/>
          <p:nvPr/>
        </p:nvSpPr>
        <p:spPr>
          <a:xfrm>
            <a:off x="13857732" y="68959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sp>
        <p:nvSpPr>
          <p:cNvPr id="215" name="9">
            <a:extLst>
              <a:ext uri="{FF2B5EF4-FFF2-40B4-BE49-F238E27FC236}">
                <a16:creationId xmlns:a16="http://schemas.microsoft.com/office/drawing/2014/main" id="{ADD3F48B-A0D0-4496-9D5E-C5B92FFC186C}"/>
              </a:ext>
            </a:extLst>
          </p:cNvPr>
          <p:cNvSpPr txBox="1"/>
          <p:nvPr/>
        </p:nvSpPr>
        <p:spPr>
          <a:xfrm>
            <a:off x="18230897" y="11036410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graphicFrame>
        <p:nvGraphicFramePr>
          <p:cNvPr id="222" name="Table 221">
            <a:extLst>
              <a:ext uri="{FF2B5EF4-FFF2-40B4-BE49-F238E27FC236}">
                <a16:creationId xmlns:a16="http://schemas.microsoft.com/office/drawing/2014/main" id="{A6279BBF-8E83-4EF9-AE6A-7867AB2C1D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07294"/>
              </p:ext>
            </p:extLst>
          </p:nvPr>
        </p:nvGraphicFramePr>
        <p:xfrm>
          <a:off x="17193836" y="11534478"/>
          <a:ext cx="3861728" cy="12232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ttritiona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Medium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arge</a:t>
                      </a:r>
                    </a:p>
                    <a:p>
                      <a:pPr algn="l"/>
                      <a:endParaRPr lang="en-US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a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223" name="9">
            <a:extLst>
              <a:ext uri="{FF2B5EF4-FFF2-40B4-BE49-F238E27FC236}">
                <a16:creationId xmlns:a16="http://schemas.microsoft.com/office/drawing/2014/main" id="{60B87BEA-8723-419A-BF9E-F9F9682A50C6}"/>
              </a:ext>
            </a:extLst>
          </p:cNvPr>
          <p:cNvSpPr txBox="1"/>
          <p:nvPr/>
        </p:nvSpPr>
        <p:spPr>
          <a:xfrm>
            <a:off x="16401582" y="115990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4" name="9">
            <a:extLst>
              <a:ext uri="{FF2B5EF4-FFF2-40B4-BE49-F238E27FC236}">
                <a16:creationId xmlns:a16="http://schemas.microsoft.com/office/drawing/2014/main" id="{41F8269D-359A-452C-82FA-A2E80AED6E46}"/>
              </a:ext>
            </a:extLst>
          </p:cNvPr>
          <p:cNvSpPr txBox="1"/>
          <p:nvPr/>
        </p:nvSpPr>
        <p:spPr>
          <a:xfrm>
            <a:off x="16401582" y="118949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5" name="9">
            <a:extLst>
              <a:ext uri="{FF2B5EF4-FFF2-40B4-BE49-F238E27FC236}">
                <a16:creationId xmlns:a16="http://schemas.microsoft.com/office/drawing/2014/main" id="{A1D8F9D8-B147-4547-B926-295446DB2DF1}"/>
              </a:ext>
            </a:extLst>
          </p:cNvPr>
          <p:cNvSpPr txBox="1"/>
          <p:nvPr/>
        </p:nvSpPr>
        <p:spPr>
          <a:xfrm>
            <a:off x="16401582" y="121994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6" name="9">
            <a:extLst>
              <a:ext uri="{FF2B5EF4-FFF2-40B4-BE49-F238E27FC236}">
                <a16:creationId xmlns:a16="http://schemas.microsoft.com/office/drawing/2014/main" id="{194FA6C9-CCB5-473A-814A-32BB128EE7FB}"/>
              </a:ext>
            </a:extLst>
          </p:cNvPr>
          <p:cNvSpPr txBox="1"/>
          <p:nvPr/>
        </p:nvSpPr>
        <p:spPr>
          <a:xfrm rot="5400000">
            <a:off x="16389066" y="12536860"/>
            <a:ext cx="175982" cy="150950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7" name="9">
            <a:extLst>
              <a:ext uri="{FF2B5EF4-FFF2-40B4-BE49-F238E27FC236}">
                <a16:creationId xmlns:a16="http://schemas.microsoft.com/office/drawing/2014/main" id="{59475F5D-46CA-4C44-A55E-73253809DA15}"/>
              </a:ext>
            </a:extLst>
          </p:cNvPr>
          <p:cNvSpPr txBox="1"/>
          <p:nvPr/>
        </p:nvSpPr>
        <p:spPr>
          <a:xfrm>
            <a:off x="15457316" y="8838012"/>
            <a:ext cx="237482" cy="1748472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8" name="9">
            <a:extLst>
              <a:ext uri="{FF2B5EF4-FFF2-40B4-BE49-F238E27FC236}">
                <a16:creationId xmlns:a16="http://schemas.microsoft.com/office/drawing/2014/main" id="{D31D4899-C03F-4298-840D-60D22A65FAF6}"/>
              </a:ext>
            </a:extLst>
          </p:cNvPr>
          <p:cNvSpPr txBox="1"/>
          <p:nvPr/>
        </p:nvSpPr>
        <p:spPr>
          <a:xfrm>
            <a:off x="15838316" y="8983588"/>
            <a:ext cx="260932" cy="1602896"/>
          </a:xfrm>
          <a:prstGeom prst="rect">
            <a:avLst/>
          </a:prstGeom>
          <a:solidFill>
            <a:srgbClr val="EFCCD6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9" name="9">
            <a:extLst>
              <a:ext uri="{FF2B5EF4-FFF2-40B4-BE49-F238E27FC236}">
                <a16:creationId xmlns:a16="http://schemas.microsoft.com/office/drawing/2014/main" id="{0B884BF0-A0D4-49DB-8902-C3F1D3217788}"/>
              </a:ext>
            </a:extLst>
          </p:cNvPr>
          <p:cNvSpPr txBox="1"/>
          <p:nvPr/>
        </p:nvSpPr>
        <p:spPr>
          <a:xfrm>
            <a:off x="16242765" y="9700633"/>
            <a:ext cx="260932" cy="889416"/>
          </a:xfrm>
          <a:prstGeom prst="rect">
            <a:avLst/>
          </a:prstGeom>
          <a:solidFill>
            <a:srgbClr val="007AB2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0" name="9">
            <a:extLst>
              <a:ext uri="{FF2B5EF4-FFF2-40B4-BE49-F238E27FC236}">
                <a16:creationId xmlns:a16="http://schemas.microsoft.com/office/drawing/2014/main" id="{41BA5159-9BB3-427F-BF75-C54B3B635296}"/>
              </a:ext>
            </a:extLst>
          </p:cNvPr>
          <p:cNvSpPr txBox="1"/>
          <p:nvPr/>
        </p:nvSpPr>
        <p:spPr>
          <a:xfrm>
            <a:off x="16829420" y="9294460"/>
            <a:ext cx="260932" cy="1292024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2" name="9">
            <a:extLst>
              <a:ext uri="{FF2B5EF4-FFF2-40B4-BE49-F238E27FC236}">
                <a16:creationId xmlns:a16="http://schemas.microsoft.com/office/drawing/2014/main" id="{D19B0BBF-2004-4333-8815-AD4EA244F7CE}"/>
              </a:ext>
            </a:extLst>
          </p:cNvPr>
          <p:cNvSpPr txBox="1"/>
          <p:nvPr/>
        </p:nvSpPr>
        <p:spPr>
          <a:xfrm>
            <a:off x="17184516" y="8838012"/>
            <a:ext cx="237482" cy="1748472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3" name="9">
            <a:extLst>
              <a:ext uri="{FF2B5EF4-FFF2-40B4-BE49-F238E27FC236}">
                <a16:creationId xmlns:a16="http://schemas.microsoft.com/office/drawing/2014/main" id="{C14E6217-E696-43E5-8B57-22403F3DC8BA}"/>
              </a:ext>
            </a:extLst>
          </p:cNvPr>
          <p:cNvSpPr txBox="1"/>
          <p:nvPr/>
        </p:nvSpPr>
        <p:spPr>
          <a:xfrm>
            <a:off x="17565516" y="8983588"/>
            <a:ext cx="260932" cy="1602896"/>
          </a:xfrm>
          <a:prstGeom prst="rect">
            <a:avLst/>
          </a:prstGeom>
          <a:solidFill>
            <a:srgbClr val="EFCCD6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4" name="9">
            <a:extLst>
              <a:ext uri="{FF2B5EF4-FFF2-40B4-BE49-F238E27FC236}">
                <a16:creationId xmlns:a16="http://schemas.microsoft.com/office/drawing/2014/main" id="{2FB757C4-4534-4683-8021-C44F0F5B6CF9}"/>
              </a:ext>
            </a:extLst>
          </p:cNvPr>
          <p:cNvSpPr txBox="1"/>
          <p:nvPr/>
        </p:nvSpPr>
        <p:spPr>
          <a:xfrm>
            <a:off x="17969965" y="9700633"/>
            <a:ext cx="260932" cy="889416"/>
          </a:xfrm>
          <a:prstGeom prst="rect">
            <a:avLst/>
          </a:prstGeom>
          <a:solidFill>
            <a:srgbClr val="007AB2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0" name="9">
            <a:extLst>
              <a:ext uri="{FF2B5EF4-FFF2-40B4-BE49-F238E27FC236}">
                <a16:creationId xmlns:a16="http://schemas.microsoft.com/office/drawing/2014/main" id="{7F414AC6-16F8-4B23-94BB-F3D732F9498E}"/>
              </a:ext>
            </a:extLst>
          </p:cNvPr>
          <p:cNvSpPr txBox="1"/>
          <p:nvPr/>
        </p:nvSpPr>
        <p:spPr>
          <a:xfrm>
            <a:off x="18480420" y="9269060"/>
            <a:ext cx="260932" cy="1292024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1" name="9">
            <a:extLst>
              <a:ext uri="{FF2B5EF4-FFF2-40B4-BE49-F238E27FC236}">
                <a16:creationId xmlns:a16="http://schemas.microsoft.com/office/drawing/2014/main" id="{87A01FEA-4BF4-4CCE-9D5F-A3A17DBF0E6C}"/>
              </a:ext>
            </a:extLst>
          </p:cNvPr>
          <p:cNvSpPr txBox="1"/>
          <p:nvPr/>
        </p:nvSpPr>
        <p:spPr>
          <a:xfrm>
            <a:off x="18835516" y="8812612"/>
            <a:ext cx="237482" cy="1748472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2" name="9">
            <a:extLst>
              <a:ext uri="{FF2B5EF4-FFF2-40B4-BE49-F238E27FC236}">
                <a16:creationId xmlns:a16="http://schemas.microsoft.com/office/drawing/2014/main" id="{607ACFDE-9585-4127-B40E-9FF2DEEE64BB}"/>
              </a:ext>
            </a:extLst>
          </p:cNvPr>
          <p:cNvSpPr txBox="1"/>
          <p:nvPr/>
        </p:nvSpPr>
        <p:spPr>
          <a:xfrm>
            <a:off x="19216516" y="8958188"/>
            <a:ext cx="260932" cy="1602896"/>
          </a:xfrm>
          <a:prstGeom prst="rect">
            <a:avLst/>
          </a:prstGeom>
          <a:solidFill>
            <a:srgbClr val="EFCCD6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3" name="9">
            <a:extLst>
              <a:ext uri="{FF2B5EF4-FFF2-40B4-BE49-F238E27FC236}">
                <a16:creationId xmlns:a16="http://schemas.microsoft.com/office/drawing/2014/main" id="{D2C220FE-B47C-4A0B-9855-A6EA026DC498}"/>
              </a:ext>
            </a:extLst>
          </p:cNvPr>
          <p:cNvSpPr txBox="1"/>
          <p:nvPr/>
        </p:nvSpPr>
        <p:spPr>
          <a:xfrm>
            <a:off x="19620965" y="9675233"/>
            <a:ext cx="260932" cy="889416"/>
          </a:xfrm>
          <a:prstGeom prst="rect">
            <a:avLst/>
          </a:prstGeom>
          <a:solidFill>
            <a:srgbClr val="007AB2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4" name="9">
            <a:extLst>
              <a:ext uri="{FF2B5EF4-FFF2-40B4-BE49-F238E27FC236}">
                <a16:creationId xmlns:a16="http://schemas.microsoft.com/office/drawing/2014/main" id="{9C431750-66C1-458F-84CC-F4FEF77A3AC2}"/>
              </a:ext>
            </a:extLst>
          </p:cNvPr>
          <p:cNvSpPr txBox="1"/>
          <p:nvPr/>
        </p:nvSpPr>
        <p:spPr>
          <a:xfrm>
            <a:off x="20080620" y="9294460"/>
            <a:ext cx="260932" cy="1292024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5" name="9">
            <a:extLst>
              <a:ext uri="{FF2B5EF4-FFF2-40B4-BE49-F238E27FC236}">
                <a16:creationId xmlns:a16="http://schemas.microsoft.com/office/drawing/2014/main" id="{4681A5B0-B3CA-4D5E-9C20-FE03823E9D09}"/>
              </a:ext>
            </a:extLst>
          </p:cNvPr>
          <p:cNvSpPr txBox="1"/>
          <p:nvPr/>
        </p:nvSpPr>
        <p:spPr>
          <a:xfrm>
            <a:off x="20435716" y="8838012"/>
            <a:ext cx="237482" cy="1748472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6" name="9">
            <a:extLst>
              <a:ext uri="{FF2B5EF4-FFF2-40B4-BE49-F238E27FC236}">
                <a16:creationId xmlns:a16="http://schemas.microsoft.com/office/drawing/2014/main" id="{5AD0E035-9E85-420D-AC42-C36D1B0CF1AC}"/>
              </a:ext>
            </a:extLst>
          </p:cNvPr>
          <p:cNvSpPr txBox="1"/>
          <p:nvPr/>
        </p:nvSpPr>
        <p:spPr>
          <a:xfrm>
            <a:off x="20816716" y="8983588"/>
            <a:ext cx="260932" cy="1602896"/>
          </a:xfrm>
          <a:prstGeom prst="rect">
            <a:avLst/>
          </a:prstGeom>
          <a:solidFill>
            <a:srgbClr val="EFCCD6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7" name="9">
            <a:extLst>
              <a:ext uri="{FF2B5EF4-FFF2-40B4-BE49-F238E27FC236}">
                <a16:creationId xmlns:a16="http://schemas.microsoft.com/office/drawing/2014/main" id="{48C23E50-37E5-42E3-9B45-B179CC63D7BA}"/>
              </a:ext>
            </a:extLst>
          </p:cNvPr>
          <p:cNvSpPr txBox="1"/>
          <p:nvPr/>
        </p:nvSpPr>
        <p:spPr>
          <a:xfrm>
            <a:off x="21221165" y="9700633"/>
            <a:ext cx="260932" cy="889416"/>
          </a:xfrm>
          <a:prstGeom prst="rect">
            <a:avLst/>
          </a:prstGeom>
          <a:solidFill>
            <a:srgbClr val="007AB2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8" name="9">
            <a:extLst>
              <a:ext uri="{FF2B5EF4-FFF2-40B4-BE49-F238E27FC236}">
                <a16:creationId xmlns:a16="http://schemas.microsoft.com/office/drawing/2014/main" id="{E56C3577-7F75-4D45-B786-4A6C17CF0A71}"/>
              </a:ext>
            </a:extLst>
          </p:cNvPr>
          <p:cNvSpPr txBox="1"/>
          <p:nvPr/>
        </p:nvSpPr>
        <p:spPr>
          <a:xfrm>
            <a:off x="21731620" y="9294460"/>
            <a:ext cx="260932" cy="1292024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59" name="9">
            <a:extLst>
              <a:ext uri="{FF2B5EF4-FFF2-40B4-BE49-F238E27FC236}">
                <a16:creationId xmlns:a16="http://schemas.microsoft.com/office/drawing/2014/main" id="{0C28CDFB-4210-4CF8-B0FF-7A4F0A785A2B}"/>
              </a:ext>
            </a:extLst>
          </p:cNvPr>
          <p:cNvSpPr txBox="1"/>
          <p:nvPr/>
        </p:nvSpPr>
        <p:spPr>
          <a:xfrm>
            <a:off x="22086716" y="8838012"/>
            <a:ext cx="237482" cy="1748472"/>
          </a:xfrm>
          <a:prstGeom prst="rect">
            <a:avLst/>
          </a:prstGeom>
          <a:solidFill>
            <a:srgbClr val="FED25C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60" name="9">
            <a:extLst>
              <a:ext uri="{FF2B5EF4-FFF2-40B4-BE49-F238E27FC236}">
                <a16:creationId xmlns:a16="http://schemas.microsoft.com/office/drawing/2014/main" id="{883A45D8-8E13-4FC6-AE89-78050295B86B}"/>
              </a:ext>
            </a:extLst>
          </p:cNvPr>
          <p:cNvSpPr txBox="1"/>
          <p:nvPr/>
        </p:nvSpPr>
        <p:spPr>
          <a:xfrm>
            <a:off x="22467716" y="8983588"/>
            <a:ext cx="260932" cy="1602896"/>
          </a:xfrm>
          <a:prstGeom prst="rect">
            <a:avLst/>
          </a:prstGeom>
          <a:solidFill>
            <a:srgbClr val="EFCCD6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61" name="9">
            <a:extLst>
              <a:ext uri="{FF2B5EF4-FFF2-40B4-BE49-F238E27FC236}">
                <a16:creationId xmlns:a16="http://schemas.microsoft.com/office/drawing/2014/main" id="{CBB58AF5-BF95-4882-AB7F-618A65139573}"/>
              </a:ext>
            </a:extLst>
          </p:cNvPr>
          <p:cNvSpPr txBox="1"/>
          <p:nvPr/>
        </p:nvSpPr>
        <p:spPr>
          <a:xfrm>
            <a:off x="22872165" y="9700633"/>
            <a:ext cx="260932" cy="889416"/>
          </a:xfrm>
          <a:prstGeom prst="rect">
            <a:avLst/>
          </a:prstGeom>
          <a:solidFill>
            <a:srgbClr val="007AB2"/>
          </a:solidFill>
          <a:ln w="12700">
            <a:solidFill>
              <a:srgbClr val="95DDFB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F9F02A-C31D-A383-8D30-3C46A7C27D54}"/>
              </a:ext>
            </a:extLst>
          </p:cNvPr>
          <p:cNvSpPr txBox="1"/>
          <p:nvPr/>
        </p:nvSpPr>
        <p:spPr>
          <a:xfrm>
            <a:off x="12501889" y="6241805"/>
            <a:ext cx="8786132" cy="471924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2400" b="0">
                <a:solidFill>
                  <a:srgbClr val="00B050"/>
                </a:solidFill>
                <a:latin typeface="-apple-system"/>
              </a:rPr>
              <a:t>I</a:t>
            </a: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nsight of loss ratio split by </a:t>
            </a:r>
            <a:r>
              <a:rPr lang="en-US" sz="2400" b="0">
                <a:solidFill>
                  <a:srgbClr val="00B050"/>
                </a:solidFill>
                <a:latin typeface="-apple-system"/>
              </a:rPr>
              <a:t>UWY / AY for time series development</a:t>
            </a:r>
            <a:endParaRPr lang="en-US" sz="2400" b="0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-apple-system"/>
              <a:ea typeface="Helvetica Neue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64720345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Claim Development</a:t>
            </a:r>
            <a:endParaRPr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1FE7C69-D012-7330-9381-F80C500284DD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US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lai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174" name="Tabelle 258">
            <a:extLst>
              <a:ext uri="{FF2B5EF4-FFF2-40B4-BE49-F238E27FC236}">
                <a16:creationId xmlns:a16="http://schemas.microsoft.com/office/drawing/2014/main" id="{CA35EC96-945C-4906-8E19-4A93B13F96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956876"/>
              </p:ext>
            </p:extLst>
          </p:nvPr>
        </p:nvGraphicFramePr>
        <p:xfrm>
          <a:off x="1201939" y="4368749"/>
          <a:ext cx="22165417" cy="27503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70677">
                  <a:extLst>
                    <a:ext uri="{9D8B030D-6E8A-4147-A177-3AD203B41FA5}">
                      <a16:colId xmlns:a16="http://schemas.microsoft.com/office/drawing/2014/main" val="2346514339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3365592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2175763">
                  <a:extLst>
                    <a:ext uri="{9D8B030D-6E8A-4147-A177-3AD203B41FA5}">
                      <a16:colId xmlns:a16="http://schemas.microsoft.com/office/drawing/2014/main" val="2052991075"/>
                    </a:ext>
                  </a:extLst>
                </a:gridCol>
                <a:gridCol w="2770677">
                  <a:extLst>
                    <a:ext uri="{9D8B030D-6E8A-4147-A177-3AD203B41FA5}">
                      <a16:colId xmlns:a16="http://schemas.microsoft.com/office/drawing/2014/main" val="836874877"/>
                    </a:ext>
                  </a:extLst>
                </a:gridCol>
              </a:tblGrid>
              <a:tr h="459377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E</a:t>
                      </a: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Segm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 Clus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PolicyI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</a:t>
                      </a: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requenc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eve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</a:t>
                      </a: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oss Rati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Food: Meat &amp; grocery MF-2 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345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extile &amp; Tobacco MF-8 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678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6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i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n-Indust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890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8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4626122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rgbClr val="F86200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90516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0394159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>
                <a:cs typeface="Arial"/>
              </a:rPr>
              <a:t>Portfolio Performanc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07DE9D8-1DDA-46B0-5F1F-22372D9C36F7}"/>
              </a:ext>
            </a:extLst>
          </p:cNvPr>
          <p:cNvSpPr txBox="1">
            <a:spLocks/>
          </p:cNvSpPr>
          <p:nvPr/>
        </p:nvSpPr>
        <p:spPr>
          <a:xfrm>
            <a:off x="3000450" y="4516321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9600" b="0">
                <a:cs typeface="Arial"/>
              </a:rPr>
              <a:t>Mockups</a:t>
            </a:r>
          </a:p>
        </p:txBody>
      </p:sp>
    </p:spTree>
    <p:extLst>
      <p:ext uri="{BB962C8B-B14F-4D97-AF65-F5344CB8AC3E}">
        <p14:creationId xmlns:p14="http://schemas.microsoft.com/office/powerpoint/2010/main" val="3291848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1783237" y="2139209"/>
            <a:ext cx="2052532" cy="752670"/>
            <a:chOff x="14684786" y="1158763"/>
            <a:chExt cx="4309574" cy="967092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58763"/>
              <a:ext cx="2679109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091512C-E6C5-C574-C749-8D969A3B7ACC}"/>
              </a:ext>
            </a:extLst>
          </p:cNvPr>
          <p:cNvSpPr/>
          <p:nvPr/>
        </p:nvSpPr>
        <p:spPr>
          <a:xfrm>
            <a:off x="1181235" y="3230000"/>
            <a:ext cx="10087305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0" name="Risk Hazard Group">
            <a:extLst>
              <a:ext uri="{FF2B5EF4-FFF2-40B4-BE49-F238E27FC236}">
                <a16:creationId xmlns:a16="http://schemas.microsoft.com/office/drawing/2014/main" id="{30ED3B2C-4A89-DDCA-2C80-73B12CCE4435}"/>
              </a:ext>
            </a:extLst>
          </p:cNvPr>
          <p:cNvSpPr txBox="1"/>
          <p:nvPr/>
        </p:nvSpPr>
        <p:spPr>
          <a:xfrm>
            <a:off x="1270872" y="3416881"/>
            <a:ext cx="6645905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Loss Ratio </a:t>
            </a:r>
            <a:r>
              <a:rPr lang="de-DE" err="1"/>
              <a:t>by</a:t>
            </a:r>
            <a:r>
              <a:rPr lang="de-DE"/>
              <a:t> Industry Cluster</a:t>
            </a:r>
            <a:endParaRPr/>
          </a:p>
        </p:txBody>
      </p:sp>
      <p:sp>
        <p:nvSpPr>
          <p:cNvPr id="260" name="9">
            <a:extLst>
              <a:ext uri="{FF2B5EF4-FFF2-40B4-BE49-F238E27FC236}">
                <a16:creationId xmlns:a16="http://schemas.microsoft.com/office/drawing/2014/main" id="{6A90E5D3-5A39-E612-A679-3643B91A6F70}"/>
              </a:ext>
            </a:extLst>
          </p:cNvPr>
          <p:cNvSpPr txBox="1"/>
          <p:nvPr/>
        </p:nvSpPr>
        <p:spPr>
          <a:xfrm>
            <a:off x="1971675" y="4540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63" name="9">
            <a:extLst>
              <a:ext uri="{FF2B5EF4-FFF2-40B4-BE49-F238E27FC236}">
                <a16:creationId xmlns:a16="http://schemas.microsoft.com/office/drawing/2014/main" id="{2C21EAF1-BEC4-42F3-35F4-E0B87F819CCC}"/>
              </a:ext>
            </a:extLst>
          </p:cNvPr>
          <p:cNvSpPr txBox="1"/>
          <p:nvPr/>
        </p:nvSpPr>
        <p:spPr>
          <a:xfrm>
            <a:off x="9005709" y="8571369"/>
            <a:ext cx="1162420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Loss Ratio in %</a:t>
            </a:r>
            <a:endParaRPr/>
          </a:p>
        </p:txBody>
      </p:sp>
      <p:sp>
        <p:nvSpPr>
          <p:cNvPr id="264" name="9">
            <a:extLst>
              <a:ext uri="{FF2B5EF4-FFF2-40B4-BE49-F238E27FC236}">
                <a16:creationId xmlns:a16="http://schemas.microsoft.com/office/drawing/2014/main" id="{F0DA83F2-D9E6-728A-451B-1E9825E8760A}"/>
              </a:ext>
            </a:extLst>
          </p:cNvPr>
          <p:cNvSpPr txBox="1"/>
          <p:nvPr/>
        </p:nvSpPr>
        <p:spPr>
          <a:xfrm>
            <a:off x="2378142" y="3984686"/>
            <a:ext cx="1019475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Industry Cluster</a:t>
            </a:r>
            <a:endParaRPr/>
          </a:p>
        </p:txBody>
      </p:sp>
      <p:grpSp>
        <p:nvGrpSpPr>
          <p:cNvPr id="346" name="Gruppieren 345">
            <a:extLst>
              <a:ext uri="{FF2B5EF4-FFF2-40B4-BE49-F238E27FC236}">
                <a16:creationId xmlns:a16="http://schemas.microsoft.com/office/drawing/2014/main" id="{25970EB7-AF02-434A-8B53-CD53855ECCA8}"/>
              </a:ext>
            </a:extLst>
          </p:cNvPr>
          <p:cNvGrpSpPr/>
          <p:nvPr/>
        </p:nvGrpSpPr>
        <p:grpSpPr>
          <a:xfrm>
            <a:off x="3660505" y="4698302"/>
            <a:ext cx="4995444" cy="3653016"/>
            <a:chOff x="4643856" y="4329515"/>
            <a:chExt cx="4995444" cy="3653016"/>
          </a:xfrm>
        </p:grpSpPr>
        <p:sp>
          <p:nvSpPr>
            <p:cNvPr id="266" name="9">
              <a:extLst>
                <a:ext uri="{FF2B5EF4-FFF2-40B4-BE49-F238E27FC236}">
                  <a16:creationId xmlns:a16="http://schemas.microsoft.com/office/drawing/2014/main" id="{33564E5D-2C51-908A-991D-A0EDF79BC5E9}"/>
                </a:ext>
              </a:extLst>
            </p:cNvPr>
            <p:cNvSpPr txBox="1"/>
            <p:nvPr/>
          </p:nvSpPr>
          <p:spPr>
            <a:xfrm>
              <a:off x="4643856" y="7647731"/>
              <a:ext cx="4995444" cy="334800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7" name="9">
              <a:extLst>
                <a:ext uri="{FF2B5EF4-FFF2-40B4-BE49-F238E27FC236}">
                  <a16:creationId xmlns:a16="http://schemas.microsoft.com/office/drawing/2014/main" id="{BAF68316-A3F8-64E9-DAFB-C7AD1746561D}"/>
                </a:ext>
              </a:extLst>
            </p:cNvPr>
            <p:cNvSpPr txBox="1"/>
            <p:nvPr/>
          </p:nvSpPr>
          <p:spPr>
            <a:xfrm>
              <a:off x="4643857" y="5988623"/>
              <a:ext cx="1972844" cy="334800"/>
            </a:xfrm>
            <a:prstGeom prst="rect">
              <a:avLst/>
            </a:prstGeom>
            <a:solidFill>
              <a:srgbClr val="047D8C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8" name="9">
              <a:extLst>
                <a:ext uri="{FF2B5EF4-FFF2-40B4-BE49-F238E27FC236}">
                  <a16:creationId xmlns:a16="http://schemas.microsoft.com/office/drawing/2014/main" id="{C8F33477-0BF9-1CD3-1440-C6A7641B551F}"/>
                </a:ext>
              </a:extLst>
            </p:cNvPr>
            <p:cNvSpPr txBox="1"/>
            <p:nvPr/>
          </p:nvSpPr>
          <p:spPr>
            <a:xfrm>
              <a:off x="4643857" y="5573846"/>
              <a:ext cx="1504848" cy="334800"/>
            </a:xfrm>
            <a:prstGeom prst="rect">
              <a:avLst/>
            </a:prstGeom>
            <a:solidFill>
              <a:srgbClr val="C0DDBD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9" name="9">
              <a:extLst>
                <a:ext uri="{FF2B5EF4-FFF2-40B4-BE49-F238E27FC236}">
                  <a16:creationId xmlns:a16="http://schemas.microsoft.com/office/drawing/2014/main" id="{CCB2DF28-25D4-DD43-60D3-F826468310F2}"/>
                </a:ext>
              </a:extLst>
            </p:cNvPr>
            <p:cNvSpPr txBox="1"/>
            <p:nvPr/>
          </p:nvSpPr>
          <p:spPr>
            <a:xfrm>
              <a:off x="4643857" y="5159069"/>
              <a:ext cx="1429386" cy="334800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0" name="9">
              <a:extLst>
                <a:ext uri="{FF2B5EF4-FFF2-40B4-BE49-F238E27FC236}">
                  <a16:creationId xmlns:a16="http://schemas.microsoft.com/office/drawing/2014/main" id="{3C67FA4A-E7B0-C795-94C5-C2562BEE7CFD}"/>
                </a:ext>
              </a:extLst>
            </p:cNvPr>
            <p:cNvSpPr txBox="1"/>
            <p:nvPr/>
          </p:nvSpPr>
          <p:spPr>
            <a:xfrm>
              <a:off x="4643857" y="4744292"/>
              <a:ext cx="994944" cy="334800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1" name="9">
              <a:extLst>
                <a:ext uri="{FF2B5EF4-FFF2-40B4-BE49-F238E27FC236}">
                  <a16:creationId xmlns:a16="http://schemas.microsoft.com/office/drawing/2014/main" id="{DC53F842-AEC7-ED7E-8910-CF4F01D9F041}"/>
                </a:ext>
              </a:extLst>
            </p:cNvPr>
            <p:cNvSpPr txBox="1"/>
            <p:nvPr/>
          </p:nvSpPr>
          <p:spPr>
            <a:xfrm>
              <a:off x="4643857" y="4329515"/>
              <a:ext cx="288000" cy="334800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2" name="9">
              <a:extLst>
                <a:ext uri="{FF2B5EF4-FFF2-40B4-BE49-F238E27FC236}">
                  <a16:creationId xmlns:a16="http://schemas.microsoft.com/office/drawing/2014/main" id="{CF072F0D-71FE-855D-A197-169530BD24BE}"/>
                </a:ext>
              </a:extLst>
            </p:cNvPr>
            <p:cNvSpPr txBox="1"/>
            <p:nvPr/>
          </p:nvSpPr>
          <p:spPr>
            <a:xfrm>
              <a:off x="4643856" y="6403400"/>
              <a:ext cx="2503913" cy="334800"/>
            </a:xfrm>
            <a:prstGeom prst="rect">
              <a:avLst/>
            </a:prstGeom>
            <a:solidFill>
              <a:srgbClr val="5A5260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3" name="9">
              <a:extLst>
                <a:ext uri="{FF2B5EF4-FFF2-40B4-BE49-F238E27FC236}">
                  <a16:creationId xmlns:a16="http://schemas.microsoft.com/office/drawing/2014/main" id="{CFDC214E-9DDD-1F24-A0D1-E3D97025FFF8}"/>
                </a:ext>
              </a:extLst>
            </p:cNvPr>
            <p:cNvSpPr txBox="1"/>
            <p:nvPr/>
          </p:nvSpPr>
          <p:spPr>
            <a:xfrm>
              <a:off x="4643856" y="6818177"/>
              <a:ext cx="2772000" cy="334800"/>
            </a:xfrm>
            <a:prstGeom prst="rect">
              <a:avLst/>
            </a:prstGeom>
            <a:solidFill>
              <a:srgbClr val="3CA555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4" name="9">
              <a:extLst>
                <a:ext uri="{FF2B5EF4-FFF2-40B4-BE49-F238E27FC236}">
                  <a16:creationId xmlns:a16="http://schemas.microsoft.com/office/drawing/2014/main" id="{9F13ED38-378A-52FF-67CF-037634D63AD8}"/>
                </a:ext>
              </a:extLst>
            </p:cNvPr>
            <p:cNvSpPr txBox="1"/>
            <p:nvPr/>
          </p:nvSpPr>
          <p:spPr>
            <a:xfrm>
              <a:off x="4643856" y="7232954"/>
              <a:ext cx="4012093" cy="334800"/>
            </a:xfrm>
            <a:prstGeom prst="rect">
              <a:avLst/>
            </a:prstGeom>
            <a:solidFill>
              <a:srgbClr val="F86200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348" name="Gerade Verbindung 347">
            <a:extLst>
              <a:ext uri="{FF2B5EF4-FFF2-40B4-BE49-F238E27FC236}">
                <a16:creationId xmlns:a16="http://schemas.microsoft.com/office/drawing/2014/main" id="{08AEFEDF-4967-F081-7618-E5A1907FB914}"/>
              </a:ext>
            </a:extLst>
          </p:cNvPr>
          <p:cNvCxnSpPr/>
          <p:nvPr/>
        </p:nvCxnSpPr>
        <p:spPr>
          <a:xfrm>
            <a:off x="3556000" y="4540683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45E6B135-FEC1-B71E-89E8-594B877714DA}"/>
              </a:ext>
            </a:extLst>
          </p:cNvPr>
          <p:cNvCxnSpPr/>
          <p:nvPr/>
        </p:nvCxnSpPr>
        <p:spPr>
          <a:xfrm>
            <a:off x="3556000" y="8479036"/>
            <a:ext cx="5425546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5" name="Rechteck 354">
            <a:extLst>
              <a:ext uri="{FF2B5EF4-FFF2-40B4-BE49-F238E27FC236}">
                <a16:creationId xmlns:a16="http://schemas.microsoft.com/office/drawing/2014/main" id="{2BAFEFC3-733D-0BE9-49A8-762D8A895567}"/>
              </a:ext>
            </a:extLst>
          </p:cNvPr>
          <p:cNvSpPr/>
          <p:nvPr/>
        </p:nvSpPr>
        <p:spPr>
          <a:xfrm>
            <a:off x="1181236" y="3230000"/>
            <a:ext cx="10087306" cy="6245286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74" name="Rechteck 373">
            <a:extLst>
              <a:ext uri="{FF2B5EF4-FFF2-40B4-BE49-F238E27FC236}">
                <a16:creationId xmlns:a16="http://schemas.microsoft.com/office/drawing/2014/main" id="{F0C15BED-4049-9E43-8B81-39F45D86C4FE}"/>
              </a:ext>
            </a:extLst>
          </p:cNvPr>
          <p:cNvSpPr/>
          <p:nvPr/>
        </p:nvSpPr>
        <p:spPr>
          <a:xfrm>
            <a:off x="13169694" y="3230000"/>
            <a:ext cx="10087305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75" name="Risk Hazard Group">
            <a:extLst>
              <a:ext uri="{FF2B5EF4-FFF2-40B4-BE49-F238E27FC236}">
                <a16:creationId xmlns:a16="http://schemas.microsoft.com/office/drawing/2014/main" id="{5EA9A390-2234-EF73-5B53-698CF2063191}"/>
              </a:ext>
            </a:extLst>
          </p:cNvPr>
          <p:cNvSpPr txBox="1"/>
          <p:nvPr/>
        </p:nvSpPr>
        <p:spPr>
          <a:xfrm>
            <a:off x="13259331" y="3393067"/>
            <a:ext cx="5360548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GWP Net growth </a:t>
            </a:r>
            <a:r>
              <a:rPr lang="de-DE" err="1"/>
              <a:t>by</a:t>
            </a:r>
            <a:r>
              <a:rPr lang="de-DE"/>
              <a:t> Industry Cluster</a:t>
            </a:r>
          </a:p>
        </p:txBody>
      </p:sp>
      <p:sp>
        <p:nvSpPr>
          <p:cNvPr id="376" name="9">
            <a:extLst>
              <a:ext uri="{FF2B5EF4-FFF2-40B4-BE49-F238E27FC236}">
                <a16:creationId xmlns:a16="http://schemas.microsoft.com/office/drawing/2014/main" id="{7778921C-8B26-03AB-A694-AD38EB5953FC}"/>
              </a:ext>
            </a:extLst>
          </p:cNvPr>
          <p:cNvSpPr txBox="1"/>
          <p:nvPr/>
        </p:nvSpPr>
        <p:spPr>
          <a:xfrm>
            <a:off x="13960134" y="4540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77" name="9">
            <a:extLst>
              <a:ext uri="{FF2B5EF4-FFF2-40B4-BE49-F238E27FC236}">
                <a16:creationId xmlns:a16="http://schemas.microsoft.com/office/drawing/2014/main" id="{68F06C69-2FA5-5EE9-EDF2-DA7055B4AE10}"/>
              </a:ext>
            </a:extLst>
          </p:cNvPr>
          <p:cNvSpPr txBox="1"/>
          <p:nvPr/>
        </p:nvSpPr>
        <p:spPr>
          <a:xfrm>
            <a:off x="20350717" y="8627891"/>
            <a:ext cx="1805871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GWP net growth </a:t>
            </a:r>
          </a:p>
          <a:p>
            <a:r>
              <a:rPr lang="de-DE"/>
              <a:t>in € mn.</a:t>
            </a:r>
            <a:endParaRPr/>
          </a:p>
        </p:txBody>
      </p:sp>
      <p:sp>
        <p:nvSpPr>
          <p:cNvPr id="378" name="9">
            <a:extLst>
              <a:ext uri="{FF2B5EF4-FFF2-40B4-BE49-F238E27FC236}">
                <a16:creationId xmlns:a16="http://schemas.microsoft.com/office/drawing/2014/main" id="{52BCDB58-765A-4705-CEE8-BE7ACE068F7D}"/>
              </a:ext>
            </a:extLst>
          </p:cNvPr>
          <p:cNvSpPr txBox="1"/>
          <p:nvPr/>
        </p:nvSpPr>
        <p:spPr>
          <a:xfrm>
            <a:off x="14366601" y="3984686"/>
            <a:ext cx="1019475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Industry Cluster</a:t>
            </a:r>
            <a:endParaRPr/>
          </a:p>
        </p:txBody>
      </p:sp>
      <p:grpSp>
        <p:nvGrpSpPr>
          <p:cNvPr id="379" name="Gruppieren 378">
            <a:extLst>
              <a:ext uri="{FF2B5EF4-FFF2-40B4-BE49-F238E27FC236}">
                <a16:creationId xmlns:a16="http://schemas.microsoft.com/office/drawing/2014/main" id="{895A52D2-DD39-2AE3-8DEF-16B7E0351969}"/>
              </a:ext>
            </a:extLst>
          </p:cNvPr>
          <p:cNvGrpSpPr/>
          <p:nvPr/>
        </p:nvGrpSpPr>
        <p:grpSpPr>
          <a:xfrm>
            <a:off x="15755289" y="4698302"/>
            <a:ext cx="3750447" cy="3653016"/>
            <a:chOff x="5154216" y="4329515"/>
            <a:chExt cx="3750447" cy="3653016"/>
          </a:xfrm>
        </p:grpSpPr>
        <p:sp>
          <p:nvSpPr>
            <p:cNvPr id="380" name="9">
              <a:extLst>
                <a:ext uri="{FF2B5EF4-FFF2-40B4-BE49-F238E27FC236}">
                  <a16:creationId xmlns:a16="http://schemas.microsoft.com/office/drawing/2014/main" id="{BA179741-D50B-3813-3722-452924EB6A4E}"/>
                </a:ext>
              </a:extLst>
            </p:cNvPr>
            <p:cNvSpPr txBox="1"/>
            <p:nvPr/>
          </p:nvSpPr>
          <p:spPr>
            <a:xfrm>
              <a:off x="5154216" y="7647731"/>
              <a:ext cx="2116800" cy="334800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1" name="9">
              <a:extLst>
                <a:ext uri="{FF2B5EF4-FFF2-40B4-BE49-F238E27FC236}">
                  <a16:creationId xmlns:a16="http://schemas.microsoft.com/office/drawing/2014/main" id="{6CF80FF2-DB0C-5CEE-2D95-8810F83D5D86}"/>
                </a:ext>
              </a:extLst>
            </p:cNvPr>
            <p:cNvSpPr txBox="1"/>
            <p:nvPr/>
          </p:nvSpPr>
          <p:spPr>
            <a:xfrm>
              <a:off x="5303082" y="5988623"/>
              <a:ext cx="1972844" cy="334800"/>
            </a:xfrm>
            <a:prstGeom prst="rect">
              <a:avLst/>
            </a:prstGeom>
            <a:solidFill>
              <a:srgbClr val="047D8C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2" name="9">
              <a:extLst>
                <a:ext uri="{FF2B5EF4-FFF2-40B4-BE49-F238E27FC236}">
                  <a16:creationId xmlns:a16="http://schemas.microsoft.com/office/drawing/2014/main" id="{63902D0A-3573-F4B4-FBC8-CD015517D2D5}"/>
                </a:ext>
              </a:extLst>
            </p:cNvPr>
            <p:cNvSpPr txBox="1"/>
            <p:nvPr/>
          </p:nvSpPr>
          <p:spPr>
            <a:xfrm>
              <a:off x="7280727" y="5573846"/>
              <a:ext cx="1504848" cy="334800"/>
            </a:xfrm>
            <a:prstGeom prst="rect">
              <a:avLst/>
            </a:prstGeom>
            <a:solidFill>
              <a:srgbClr val="C0DDBD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3" name="9">
              <a:extLst>
                <a:ext uri="{FF2B5EF4-FFF2-40B4-BE49-F238E27FC236}">
                  <a16:creationId xmlns:a16="http://schemas.microsoft.com/office/drawing/2014/main" id="{35721764-ACCC-0F20-7069-5675F4FF5218}"/>
                </a:ext>
              </a:extLst>
            </p:cNvPr>
            <p:cNvSpPr txBox="1"/>
            <p:nvPr/>
          </p:nvSpPr>
          <p:spPr>
            <a:xfrm>
              <a:off x="7280726" y="5159069"/>
              <a:ext cx="1429386" cy="334800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4" name="9">
              <a:extLst>
                <a:ext uri="{FF2B5EF4-FFF2-40B4-BE49-F238E27FC236}">
                  <a16:creationId xmlns:a16="http://schemas.microsoft.com/office/drawing/2014/main" id="{547BC96C-E881-92E8-B589-A687E19332FB}"/>
                </a:ext>
              </a:extLst>
            </p:cNvPr>
            <p:cNvSpPr txBox="1"/>
            <p:nvPr/>
          </p:nvSpPr>
          <p:spPr>
            <a:xfrm>
              <a:off x="7280727" y="4744292"/>
              <a:ext cx="994944" cy="334800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5" name="9">
              <a:extLst>
                <a:ext uri="{FF2B5EF4-FFF2-40B4-BE49-F238E27FC236}">
                  <a16:creationId xmlns:a16="http://schemas.microsoft.com/office/drawing/2014/main" id="{E28B1AEC-4C05-9168-26D9-354825B9B1C4}"/>
                </a:ext>
              </a:extLst>
            </p:cNvPr>
            <p:cNvSpPr txBox="1"/>
            <p:nvPr/>
          </p:nvSpPr>
          <p:spPr>
            <a:xfrm>
              <a:off x="7280728" y="4329515"/>
              <a:ext cx="626644" cy="334800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6" name="9">
              <a:extLst>
                <a:ext uri="{FF2B5EF4-FFF2-40B4-BE49-F238E27FC236}">
                  <a16:creationId xmlns:a16="http://schemas.microsoft.com/office/drawing/2014/main" id="{42B5F212-62AF-7A2F-7BE7-166F7937ADCD}"/>
                </a:ext>
              </a:extLst>
            </p:cNvPr>
            <p:cNvSpPr txBox="1"/>
            <p:nvPr/>
          </p:nvSpPr>
          <p:spPr>
            <a:xfrm>
              <a:off x="5834698" y="6403400"/>
              <a:ext cx="1425600" cy="334800"/>
            </a:xfrm>
            <a:prstGeom prst="rect">
              <a:avLst/>
            </a:prstGeom>
            <a:solidFill>
              <a:srgbClr val="5A5260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7" name="9">
              <a:extLst>
                <a:ext uri="{FF2B5EF4-FFF2-40B4-BE49-F238E27FC236}">
                  <a16:creationId xmlns:a16="http://schemas.microsoft.com/office/drawing/2014/main" id="{F374D4D1-AA51-ED66-4319-A2C9E061F834}"/>
                </a:ext>
              </a:extLst>
            </p:cNvPr>
            <p:cNvSpPr txBox="1"/>
            <p:nvPr/>
          </p:nvSpPr>
          <p:spPr>
            <a:xfrm>
              <a:off x="7259463" y="6818177"/>
              <a:ext cx="1645200" cy="334800"/>
            </a:xfrm>
            <a:prstGeom prst="rect">
              <a:avLst/>
            </a:prstGeom>
            <a:solidFill>
              <a:srgbClr val="3CA555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8" name="9">
              <a:extLst>
                <a:ext uri="{FF2B5EF4-FFF2-40B4-BE49-F238E27FC236}">
                  <a16:creationId xmlns:a16="http://schemas.microsoft.com/office/drawing/2014/main" id="{89615BB1-94B0-CB58-6DB5-B32BACD8550C}"/>
                </a:ext>
              </a:extLst>
            </p:cNvPr>
            <p:cNvSpPr txBox="1"/>
            <p:nvPr/>
          </p:nvSpPr>
          <p:spPr>
            <a:xfrm>
              <a:off x="7259461" y="7232954"/>
              <a:ext cx="414000" cy="334800"/>
            </a:xfrm>
            <a:prstGeom prst="rect">
              <a:avLst/>
            </a:prstGeom>
            <a:solidFill>
              <a:srgbClr val="F86200"/>
            </a:solidFill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389" name="Gerade Verbindung 388">
            <a:extLst>
              <a:ext uri="{FF2B5EF4-FFF2-40B4-BE49-F238E27FC236}">
                <a16:creationId xmlns:a16="http://schemas.microsoft.com/office/drawing/2014/main" id="{863DE50E-7B03-2885-8F92-3F659EFFBA1B}"/>
              </a:ext>
            </a:extLst>
          </p:cNvPr>
          <p:cNvCxnSpPr/>
          <p:nvPr/>
        </p:nvCxnSpPr>
        <p:spPr>
          <a:xfrm>
            <a:off x="15544459" y="4540683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Gerade Verbindung mit Pfeil 389">
            <a:extLst>
              <a:ext uri="{FF2B5EF4-FFF2-40B4-BE49-F238E27FC236}">
                <a16:creationId xmlns:a16="http://schemas.microsoft.com/office/drawing/2014/main" id="{764EC793-C4E3-9C6A-98DD-AA22A8511BBE}"/>
              </a:ext>
            </a:extLst>
          </p:cNvPr>
          <p:cNvCxnSpPr/>
          <p:nvPr/>
        </p:nvCxnSpPr>
        <p:spPr>
          <a:xfrm>
            <a:off x="15544459" y="8479036"/>
            <a:ext cx="5425546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1" name="Rechteck 390">
            <a:extLst>
              <a:ext uri="{FF2B5EF4-FFF2-40B4-BE49-F238E27FC236}">
                <a16:creationId xmlns:a16="http://schemas.microsoft.com/office/drawing/2014/main" id="{B8FCFA21-0B0C-8C39-6315-85AF82987C21}"/>
              </a:ext>
            </a:extLst>
          </p:cNvPr>
          <p:cNvSpPr/>
          <p:nvPr/>
        </p:nvSpPr>
        <p:spPr>
          <a:xfrm>
            <a:off x="13169695" y="3230000"/>
            <a:ext cx="10087306" cy="6245286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393" name="Gerade Verbindung 392">
            <a:extLst>
              <a:ext uri="{FF2B5EF4-FFF2-40B4-BE49-F238E27FC236}">
                <a16:creationId xmlns:a16="http://schemas.microsoft.com/office/drawing/2014/main" id="{07C5B03A-D663-4BC2-6B34-8A07E6DA4071}"/>
              </a:ext>
            </a:extLst>
          </p:cNvPr>
          <p:cNvCxnSpPr/>
          <p:nvPr/>
        </p:nvCxnSpPr>
        <p:spPr>
          <a:xfrm>
            <a:off x="17862701" y="4540683"/>
            <a:ext cx="0" cy="3938353"/>
          </a:xfrm>
          <a:prstGeom prst="line">
            <a:avLst/>
          </a:prstGeom>
          <a:noFill/>
          <a:ln w="9525" cap="flat">
            <a:solidFill>
              <a:srgbClr val="00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8" name="9">
            <a:extLst>
              <a:ext uri="{FF2B5EF4-FFF2-40B4-BE49-F238E27FC236}">
                <a16:creationId xmlns:a16="http://schemas.microsoft.com/office/drawing/2014/main" id="{6AF14D52-1652-496D-5639-5F0153E2C3D5}"/>
              </a:ext>
            </a:extLst>
          </p:cNvPr>
          <p:cNvSpPr txBox="1"/>
          <p:nvPr/>
        </p:nvSpPr>
        <p:spPr>
          <a:xfrm>
            <a:off x="1912966" y="4605362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Agriculture, forestry &amp; fishing</a:t>
            </a:r>
            <a:endParaRPr/>
          </a:p>
        </p:txBody>
      </p:sp>
      <p:sp>
        <p:nvSpPr>
          <p:cNvPr id="79" name="9">
            <a:extLst>
              <a:ext uri="{FF2B5EF4-FFF2-40B4-BE49-F238E27FC236}">
                <a16:creationId xmlns:a16="http://schemas.microsoft.com/office/drawing/2014/main" id="{78652C8B-3EAF-6A1E-65EB-01088BA900D1}"/>
              </a:ext>
            </a:extLst>
          </p:cNvPr>
          <p:cNvSpPr txBox="1"/>
          <p:nvPr/>
        </p:nvSpPr>
        <p:spPr>
          <a:xfrm>
            <a:off x="4045611" y="4735423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l"/>
            <a:r>
              <a:rPr lang="de-DE"/>
              <a:t>20%</a:t>
            </a:r>
            <a:endParaRPr/>
          </a:p>
        </p:txBody>
      </p:sp>
      <p:sp>
        <p:nvSpPr>
          <p:cNvPr id="80" name="9">
            <a:extLst>
              <a:ext uri="{FF2B5EF4-FFF2-40B4-BE49-F238E27FC236}">
                <a16:creationId xmlns:a16="http://schemas.microsoft.com/office/drawing/2014/main" id="{46A732DC-3E95-27C2-48EA-F407269EA6AD}"/>
              </a:ext>
            </a:extLst>
          </p:cNvPr>
          <p:cNvSpPr txBox="1"/>
          <p:nvPr/>
        </p:nvSpPr>
        <p:spPr>
          <a:xfrm>
            <a:off x="1920114" y="5050849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Textile &amp; Tobacco MF-8 </a:t>
            </a:r>
            <a:endParaRPr/>
          </a:p>
        </p:txBody>
      </p:sp>
      <p:sp>
        <p:nvSpPr>
          <p:cNvPr id="81" name="9">
            <a:extLst>
              <a:ext uri="{FF2B5EF4-FFF2-40B4-BE49-F238E27FC236}">
                <a16:creationId xmlns:a16="http://schemas.microsoft.com/office/drawing/2014/main" id="{E84B5A10-760D-6EEA-D628-EBE04B78399D}"/>
              </a:ext>
            </a:extLst>
          </p:cNvPr>
          <p:cNvSpPr txBox="1"/>
          <p:nvPr/>
        </p:nvSpPr>
        <p:spPr>
          <a:xfrm>
            <a:off x="4736917" y="5136850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l"/>
            <a:r>
              <a:rPr lang="de-DE"/>
              <a:t>50%</a:t>
            </a:r>
            <a:endParaRPr/>
          </a:p>
        </p:txBody>
      </p:sp>
      <p:sp>
        <p:nvSpPr>
          <p:cNvPr id="82" name="9">
            <a:extLst>
              <a:ext uri="{FF2B5EF4-FFF2-40B4-BE49-F238E27FC236}">
                <a16:creationId xmlns:a16="http://schemas.microsoft.com/office/drawing/2014/main" id="{90F3B86B-44DD-EEF3-1465-B9C85AA23B67}"/>
              </a:ext>
            </a:extLst>
          </p:cNvPr>
          <p:cNvSpPr txBox="1"/>
          <p:nvPr/>
        </p:nvSpPr>
        <p:spPr>
          <a:xfrm>
            <a:off x="1920113" y="5592053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83" name="9">
            <a:extLst>
              <a:ext uri="{FF2B5EF4-FFF2-40B4-BE49-F238E27FC236}">
                <a16:creationId xmlns:a16="http://schemas.microsoft.com/office/drawing/2014/main" id="{04A1081F-FE90-BEF4-9E67-80E5BE9CA19A}"/>
              </a:ext>
            </a:extLst>
          </p:cNvPr>
          <p:cNvSpPr txBox="1"/>
          <p:nvPr/>
        </p:nvSpPr>
        <p:spPr>
          <a:xfrm>
            <a:off x="14050022" y="4686809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Agriculture, forestry &amp; fishing</a:t>
            </a:r>
            <a:endParaRPr/>
          </a:p>
        </p:txBody>
      </p:sp>
      <p:sp>
        <p:nvSpPr>
          <p:cNvPr id="84" name="9">
            <a:extLst>
              <a:ext uri="{FF2B5EF4-FFF2-40B4-BE49-F238E27FC236}">
                <a16:creationId xmlns:a16="http://schemas.microsoft.com/office/drawing/2014/main" id="{18B9D609-77A7-E1CA-8C05-AFBF6751A4AF}"/>
              </a:ext>
            </a:extLst>
          </p:cNvPr>
          <p:cNvSpPr txBox="1"/>
          <p:nvPr/>
        </p:nvSpPr>
        <p:spPr>
          <a:xfrm>
            <a:off x="18619879" y="4689480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l"/>
            <a:r>
              <a:rPr lang="de-DE"/>
              <a:t>+100</a:t>
            </a:r>
            <a:endParaRPr/>
          </a:p>
        </p:txBody>
      </p:sp>
      <p:sp>
        <p:nvSpPr>
          <p:cNvPr id="85" name="9">
            <a:extLst>
              <a:ext uri="{FF2B5EF4-FFF2-40B4-BE49-F238E27FC236}">
                <a16:creationId xmlns:a16="http://schemas.microsoft.com/office/drawing/2014/main" id="{1CB601FC-AC0F-47E5-E778-A839FC9EB827}"/>
              </a:ext>
            </a:extLst>
          </p:cNvPr>
          <p:cNvSpPr txBox="1"/>
          <p:nvPr/>
        </p:nvSpPr>
        <p:spPr>
          <a:xfrm>
            <a:off x="14057170" y="5132296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Textile &amp; Tobacco MF-8 </a:t>
            </a:r>
            <a:endParaRPr/>
          </a:p>
        </p:txBody>
      </p:sp>
      <p:sp>
        <p:nvSpPr>
          <p:cNvPr id="86" name="9">
            <a:extLst>
              <a:ext uri="{FF2B5EF4-FFF2-40B4-BE49-F238E27FC236}">
                <a16:creationId xmlns:a16="http://schemas.microsoft.com/office/drawing/2014/main" id="{1BD74E94-28DD-00D6-1B45-9FA8934872BB}"/>
              </a:ext>
            </a:extLst>
          </p:cNvPr>
          <p:cNvSpPr txBox="1"/>
          <p:nvPr/>
        </p:nvSpPr>
        <p:spPr>
          <a:xfrm>
            <a:off x="18995998" y="5090907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l"/>
            <a:r>
              <a:rPr lang="de-DE"/>
              <a:t>+120</a:t>
            </a:r>
          </a:p>
        </p:txBody>
      </p:sp>
      <p:sp>
        <p:nvSpPr>
          <p:cNvPr id="87" name="9">
            <a:extLst>
              <a:ext uri="{FF2B5EF4-FFF2-40B4-BE49-F238E27FC236}">
                <a16:creationId xmlns:a16="http://schemas.microsoft.com/office/drawing/2014/main" id="{355D7C4F-0932-0A27-5227-337E7C7ABA22}"/>
              </a:ext>
            </a:extLst>
          </p:cNvPr>
          <p:cNvSpPr txBox="1"/>
          <p:nvPr/>
        </p:nvSpPr>
        <p:spPr>
          <a:xfrm>
            <a:off x="14057169" y="5673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Portfolio Performance</a:t>
            </a:r>
            <a:endParaRPr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509F8B-ABDB-4AE4-8390-1BDD6237924E}"/>
              </a:ext>
            </a:extLst>
          </p:cNvPr>
          <p:cNvCxnSpPr/>
          <p:nvPr/>
        </p:nvCxnSpPr>
        <p:spPr>
          <a:xfrm>
            <a:off x="7916777" y="4456610"/>
            <a:ext cx="739172" cy="0"/>
          </a:xfrm>
          <a:prstGeom prst="line">
            <a:avLst/>
          </a:prstGeom>
          <a:noFill/>
          <a:ln w="28575" cap="flat">
            <a:solidFill>
              <a:srgbClr val="FF0000"/>
            </a:solidFill>
            <a:prstDash val="sys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3" name="9">
            <a:extLst>
              <a:ext uri="{FF2B5EF4-FFF2-40B4-BE49-F238E27FC236}">
                <a16:creationId xmlns:a16="http://schemas.microsoft.com/office/drawing/2014/main" id="{049142A1-E48E-4A5B-9B3B-50FD6480AFF8}"/>
              </a:ext>
            </a:extLst>
          </p:cNvPr>
          <p:cNvSpPr txBox="1"/>
          <p:nvPr/>
        </p:nvSpPr>
        <p:spPr>
          <a:xfrm>
            <a:off x="8729298" y="4236206"/>
            <a:ext cx="1827801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average Loss Ratio benchmark </a:t>
            </a:r>
            <a:endParaRPr lang="de-DE"/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FC2FF4-E4B6-4E7A-92F6-4A224184A608}"/>
              </a:ext>
            </a:extLst>
          </p:cNvPr>
          <p:cNvCxnSpPr/>
          <p:nvPr/>
        </p:nvCxnSpPr>
        <p:spPr>
          <a:xfrm>
            <a:off x="5756392" y="4827941"/>
            <a:ext cx="0" cy="3523377"/>
          </a:xfrm>
          <a:prstGeom prst="line">
            <a:avLst/>
          </a:prstGeom>
          <a:noFill/>
          <a:ln w="28575" cap="flat">
            <a:solidFill>
              <a:srgbClr val="FF0000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9">
            <a:extLst>
              <a:ext uri="{FF2B5EF4-FFF2-40B4-BE49-F238E27FC236}">
                <a16:creationId xmlns:a16="http://schemas.microsoft.com/office/drawing/2014/main" id="{D9519A46-EC1D-4EAB-A822-4C8EEEECF4D4}"/>
              </a:ext>
            </a:extLst>
          </p:cNvPr>
          <p:cNvSpPr txBox="1"/>
          <p:nvPr/>
        </p:nvSpPr>
        <p:spPr>
          <a:xfrm>
            <a:off x="5131635" y="8556863"/>
            <a:ext cx="1300868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80% Loss Ratio Benchmark</a:t>
            </a:r>
            <a:endParaRPr/>
          </a:p>
        </p:txBody>
      </p: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724E37-B1E9-45D5-9AA3-086E2416CFE6}"/>
              </a:ext>
            </a:extLst>
          </p:cNvPr>
          <p:cNvSpPr txBox="1"/>
          <p:nvPr/>
        </p:nvSpPr>
        <p:spPr>
          <a:xfrm>
            <a:off x="20658244" y="1143932"/>
            <a:ext cx="3112463" cy="564257"/>
          </a:xfrm>
          <a:prstGeom prst="rect">
            <a:avLst/>
          </a:prstGeom>
          <a:noFill/>
          <a:ln w="127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New Filters</a:t>
            </a: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D0E12D80-8029-475B-ACAF-6B2E518535F3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61267969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A3F2C85-6404-8A98-1D9F-9AA566DC84CF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282" name="Screenshot 2021-09-03 at 19.51.32.png" descr="Screenshot 2021-09-03 at 19.51.32.png"/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23" name="OE Name"/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33902EF6-A1E3-4BA5-754A-8563700E9FB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6" name="All">
              <a:extLst>
                <a:ext uri="{FF2B5EF4-FFF2-40B4-BE49-F238E27FC236}">
                  <a16:creationId xmlns:a16="http://schemas.microsoft.com/office/drawing/2014/main" id="{4EC3A1B7-38CA-8BCC-53A3-7BEE98E9A40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A068D0F-4F8F-DCDC-823B-46847FD2A8F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695B65F-0CF5-21AA-2A9B-8E2695CC7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" name="OE Name">
              <a:extLst>
                <a:ext uri="{FF2B5EF4-FFF2-40B4-BE49-F238E27FC236}">
                  <a16:creationId xmlns:a16="http://schemas.microsoft.com/office/drawing/2014/main" id="{9C99AEDD-FBBE-BEE3-0035-434BD32751E4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920E18EA-69D6-0B42-1262-98F023E6CB96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All">
              <a:extLst>
                <a:ext uri="{FF2B5EF4-FFF2-40B4-BE49-F238E27FC236}">
                  <a16:creationId xmlns:a16="http://schemas.microsoft.com/office/drawing/2014/main" id="{9BC49600-CF93-FDD7-F600-4B71CE780F6C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BF7CD51-9546-BA2F-E1D6-8BFA960C5D54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A083FBD-49CD-9DBB-140D-7F97AF9AB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" name="OE Name">
              <a:extLst>
                <a:ext uri="{FF2B5EF4-FFF2-40B4-BE49-F238E27FC236}">
                  <a16:creationId xmlns:a16="http://schemas.microsoft.com/office/drawing/2014/main" id="{62E6E34B-D22C-DEC0-8051-841E7B3E45C1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4" name="Rectangle">
              <a:extLst>
                <a:ext uri="{FF2B5EF4-FFF2-40B4-BE49-F238E27FC236}">
                  <a16:creationId xmlns:a16="http://schemas.microsoft.com/office/drawing/2014/main" id="{A0AA70DD-C750-EA92-A1BD-851125B10F78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5" name="All">
              <a:extLst>
                <a:ext uri="{FF2B5EF4-FFF2-40B4-BE49-F238E27FC236}">
                  <a16:creationId xmlns:a16="http://schemas.microsoft.com/office/drawing/2014/main" id="{DF89BA34-B310-13CE-612B-FB9F6751D96A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35B52A7-394B-CBBB-7E19-E8C32419E69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3649E6E-22B6-E2EB-BD46-6EE23DDC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7" name="OE Name">
              <a:extLst>
                <a:ext uri="{FF2B5EF4-FFF2-40B4-BE49-F238E27FC236}">
                  <a16:creationId xmlns:a16="http://schemas.microsoft.com/office/drawing/2014/main" id="{2128611B-505C-2EA5-A30D-A33AFF04CC06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CEE77BBC-30BE-08B5-7329-BA2A4565580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9" name="All">
              <a:extLst>
                <a:ext uri="{FF2B5EF4-FFF2-40B4-BE49-F238E27FC236}">
                  <a16:creationId xmlns:a16="http://schemas.microsoft.com/office/drawing/2014/main" id="{68F62ACD-2BA1-D10C-9F09-C9788FD7818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aphicFrame>
        <p:nvGraphicFramePr>
          <p:cNvPr id="258" name="Tabelle 258">
            <a:extLst>
              <a:ext uri="{FF2B5EF4-FFF2-40B4-BE49-F238E27FC236}">
                <a16:creationId xmlns:a16="http://schemas.microsoft.com/office/drawing/2014/main" id="{D3FDEBFA-818A-B4E7-FDBD-22BC4994C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091026"/>
              </p:ext>
            </p:extLst>
          </p:nvPr>
        </p:nvGraphicFramePr>
        <p:xfrm>
          <a:off x="1091582" y="10039754"/>
          <a:ext cx="14776946" cy="30657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47118">
                  <a:extLst>
                    <a:ext uri="{9D8B030D-6E8A-4147-A177-3AD203B41FA5}">
                      <a16:colId xmlns:a16="http://schemas.microsoft.com/office/drawing/2014/main" val="2346514339"/>
                    </a:ext>
                  </a:extLst>
                </a:gridCol>
                <a:gridCol w="1847118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1847118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1847118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1847118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2243728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1450510">
                  <a:extLst>
                    <a:ext uri="{9D8B030D-6E8A-4147-A177-3AD203B41FA5}">
                      <a16:colId xmlns:a16="http://schemas.microsoft.com/office/drawing/2014/main" val="2052991075"/>
                    </a:ext>
                  </a:extLst>
                </a:gridCol>
                <a:gridCol w="1847118">
                  <a:extLst>
                    <a:ext uri="{9D8B030D-6E8A-4147-A177-3AD203B41FA5}">
                      <a16:colId xmlns:a16="http://schemas.microsoft.com/office/drawing/2014/main" val="836874877"/>
                    </a:ext>
                  </a:extLst>
                </a:gridCol>
              </a:tblGrid>
              <a:tr h="459377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E</a:t>
                      </a: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Segm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 Clus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PolicyI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GWP </a:t>
                      </a:r>
                    </a:p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‘000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Loss rati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GWP net increase </a:t>
                      </a:r>
                    </a:p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‘000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Food: Meat &amp; grocery MF-2 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345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extile &amp; Tobacco MF-8 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678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i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n-Indust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890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34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4626122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9051693"/>
                  </a:ext>
                </a:extLst>
              </a:tr>
            </a:tbl>
          </a:graphicData>
        </a:graphic>
      </p:graphicFrame>
      <p:sp>
        <p:nvSpPr>
          <p:cNvPr id="89" name="Rectangle 88">
            <a:extLst>
              <a:ext uri="{FF2B5EF4-FFF2-40B4-BE49-F238E27FC236}">
                <a16:creationId xmlns:a16="http://schemas.microsoft.com/office/drawing/2014/main" id="{A90DA755-0D40-0A38-5C42-B812CD52621C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90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A1F0C14B-7EEF-2716-742D-FA2B80F93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91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0627E4E1-BBA5-004F-ED42-4CA45FBC0904}"/>
              </a:ext>
            </a:extLst>
          </p:cNvPr>
          <p:cNvPicPr>
            <a:picLocks/>
          </p:cNvPicPr>
          <p:nvPr/>
        </p:nvPicPr>
        <p:blipFill>
          <a:blip r:embed="rId3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92" name="Global Commercial Portfolio Tool">
            <a:extLst>
              <a:ext uri="{FF2B5EF4-FFF2-40B4-BE49-F238E27FC236}">
                <a16:creationId xmlns:a16="http://schemas.microsoft.com/office/drawing/2014/main" id="{FAE61F72-E6E2-262C-F2C7-BE5EE836DD3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 Portfolio Performance</a:t>
            </a:r>
            <a:endParaRPr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3E9EFA4-B334-78DD-6045-605F64D476F2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1" name="Gruppieren 32">
            <a:extLst>
              <a:ext uri="{FF2B5EF4-FFF2-40B4-BE49-F238E27FC236}">
                <a16:creationId xmlns:a16="http://schemas.microsoft.com/office/drawing/2014/main" id="{3945BDE7-5C41-46E5-ADB1-D7B38CC9AAF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0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8E3E660-7901-4C37-A58F-DA12858FA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3" name="OE Name">
              <a:extLst>
                <a:ext uri="{FF2B5EF4-FFF2-40B4-BE49-F238E27FC236}">
                  <a16:creationId xmlns:a16="http://schemas.microsoft.com/office/drawing/2014/main" id="{32D33866-8220-40CE-B2DE-5C35EF52906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04" name="Rectangle">
              <a:extLst>
                <a:ext uri="{FF2B5EF4-FFF2-40B4-BE49-F238E27FC236}">
                  <a16:creationId xmlns:a16="http://schemas.microsoft.com/office/drawing/2014/main" id="{06F16965-0B72-466C-B952-3223D81FC756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5" name="All">
              <a:extLst>
                <a:ext uri="{FF2B5EF4-FFF2-40B4-BE49-F238E27FC236}">
                  <a16:creationId xmlns:a16="http://schemas.microsoft.com/office/drawing/2014/main" id="{385EE530-8172-4066-912B-AD1CE8928389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88" name="Gruppieren 32">
            <a:extLst>
              <a:ext uri="{FF2B5EF4-FFF2-40B4-BE49-F238E27FC236}">
                <a16:creationId xmlns:a16="http://schemas.microsoft.com/office/drawing/2014/main" id="{59CA0CCE-0DCA-4004-9764-920F2E8DF6C6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94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635E9784-EBCA-4C80-ADEA-B261E4ACD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5" name="OE Name">
              <a:extLst>
                <a:ext uri="{FF2B5EF4-FFF2-40B4-BE49-F238E27FC236}">
                  <a16:creationId xmlns:a16="http://schemas.microsoft.com/office/drawing/2014/main" id="{86DDF9CD-5A58-4111-B6E9-4100A7673F5E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96" name="Rectangle">
              <a:extLst>
                <a:ext uri="{FF2B5EF4-FFF2-40B4-BE49-F238E27FC236}">
                  <a16:creationId xmlns:a16="http://schemas.microsoft.com/office/drawing/2014/main" id="{A9140E01-BEF5-404E-91D8-71A715F41D8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9" name="All">
              <a:extLst>
                <a:ext uri="{FF2B5EF4-FFF2-40B4-BE49-F238E27FC236}">
                  <a16:creationId xmlns:a16="http://schemas.microsoft.com/office/drawing/2014/main" id="{55944380-9BE9-411E-8B76-5D98157B5AEC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00" name="Gruppieren 29">
            <a:extLst>
              <a:ext uri="{FF2B5EF4-FFF2-40B4-BE49-F238E27FC236}">
                <a16:creationId xmlns:a16="http://schemas.microsoft.com/office/drawing/2014/main" id="{E7D86646-69D2-4CB1-ADE0-E9DDF007F56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0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AD78479-22D4-4117-83AF-59FA77920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8" name="OE Name">
              <a:extLst>
                <a:ext uri="{FF2B5EF4-FFF2-40B4-BE49-F238E27FC236}">
                  <a16:creationId xmlns:a16="http://schemas.microsoft.com/office/drawing/2014/main" id="{2B48364D-329C-4C2B-9D95-599CD6AB1E22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09" name="Rectangle">
              <a:extLst>
                <a:ext uri="{FF2B5EF4-FFF2-40B4-BE49-F238E27FC236}">
                  <a16:creationId xmlns:a16="http://schemas.microsoft.com/office/drawing/2014/main" id="{EAE3FB0A-8A24-496B-8E2C-A6FE2AD219F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0" name="All">
              <a:extLst>
                <a:ext uri="{FF2B5EF4-FFF2-40B4-BE49-F238E27FC236}">
                  <a16:creationId xmlns:a16="http://schemas.microsoft.com/office/drawing/2014/main" id="{5E07DA9B-F427-4362-93DB-532AAACBA6B2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11" name="Gruppieren 29">
            <a:extLst>
              <a:ext uri="{FF2B5EF4-FFF2-40B4-BE49-F238E27FC236}">
                <a16:creationId xmlns:a16="http://schemas.microsoft.com/office/drawing/2014/main" id="{06497168-B6A2-4AB0-893D-C556740D9A6B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1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EB6A744-A1C9-4ADC-83B1-07F86017B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3" name="OE Name">
              <a:extLst>
                <a:ext uri="{FF2B5EF4-FFF2-40B4-BE49-F238E27FC236}">
                  <a16:creationId xmlns:a16="http://schemas.microsoft.com/office/drawing/2014/main" id="{9E42EC1A-B183-4220-AADD-05878A45D9BE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14" name="Rectangle">
              <a:extLst>
                <a:ext uri="{FF2B5EF4-FFF2-40B4-BE49-F238E27FC236}">
                  <a16:creationId xmlns:a16="http://schemas.microsoft.com/office/drawing/2014/main" id="{254FEAA5-2F4E-4FD1-9217-B86683481516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15" name="All">
              <a:extLst>
                <a:ext uri="{FF2B5EF4-FFF2-40B4-BE49-F238E27FC236}">
                  <a16:creationId xmlns:a16="http://schemas.microsoft.com/office/drawing/2014/main" id="{2ACEAB82-8CFA-43C6-9372-675707A9A91E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16" name="Gruppieren 29">
            <a:extLst>
              <a:ext uri="{FF2B5EF4-FFF2-40B4-BE49-F238E27FC236}">
                <a16:creationId xmlns:a16="http://schemas.microsoft.com/office/drawing/2014/main" id="{8AAD6E8C-0DB0-4837-8188-A2C50828090F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1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DCF3B0A-0183-4370-8E72-A615F47D2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8" name="OE Name">
              <a:extLst>
                <a:ext uri="{FF2B5EF4-FFF2-40B4-BE49-F238E27FC236}">
                  <a16:creationId xmlns:a16="http://schemas.microsoft.com/office/drawing/2014/main" id="{0549CE19-2E14-4DFC-BF84-636367C23FCB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1EADD224-C7AB-4C5A-9B86-63D80934642F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0" name="All">
              <a:extLst>
                <a:ext uri="{FF2B5EF4-FFF2-40B4-BE49-F238E27FC236}">
                  <a16:creationId xmlns:a16="http://schemas.microsoft.com/office/drawing/2014/main" id="{84D2933F-C66B-4B2F-802F-6EE355F7F61C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21" name="Gruppieren 29">
            <a:extLst>
              <a:ext uri="{FF2B5EF4-FFF2-40B4-BE49-F238E27FC236}">
                <a16:creationId xmlns:a16="http://schemas.microsoft.com/office/drawing/2014/main" id="{04E669A6-F584-4918-BF1A-9078C443ABB2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2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B13912C-C9A3-4A28-9AAF-D95767F0A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3" name="OE Name">
              <a:extLst>
                <a:ext uri="{FF2B5EF4-FFF2-40B4-BE49-F238E27FC236}">
                  <a16:creationId xmlns:a16="http://schemas.microsoft.com/office/drawing/2014/main" id="{1135E59B-2B46-4319-AA54-BBE25E4A063B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24" name="Rectangle">
              <a:extLst>
                <a:ext uri="{FF2B5EF4-FFF2-40B4-BE49-F238E27FC236}">
                  <a16:creationId xmlns:a16="http://schemas.microsoft.com/office/drawing/2014/main" id="{B758FF5D-371D-412B-A5AF-A149448E472D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5" name="All">
              <a:extLst>
                <a:ext uri="{FF2B5EF4-FFF2-40B4-BE49-F238E27FC236}">
                  <a16:creationId xmlns:a16="http://schemas.microsoft.com/office/drawing/2014/main" id="{7D96EF81-D461-491F-9A95-549048378B3D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AB640A-255F-481D-AEC9-511B2E2353C0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724E37-B1E9-45D5-9AA3-086E2416CFE6}"/>
              </a:ext>
            </a:extLst>
          </p:cNvPr>
          <p:cNvSpPr txBox="1"/>
          <p:nvPr/>
        </p:nvSpPr>
        <p:spPr>
          <a:xfrm>
            <a:off x="20658244" y="1143932"/>
            <a:ext cx="3112463" cy="564257"/>
          </a:xfrm>
          <a:prstGeom prst="rect">
            <a:avLst/>
          </a:prstGeom>
          <a:noFill/>
          <a:ln w="127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New Filters</a:t>
            </a: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D0E12D80-8029-475B-ACAF-6B2E518535F3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5" name="Risk Hazard Group">
            <a:extLst>
              <a:ext uri="{FF2B5EF4-FFF2-40B4-BE49-F238E27FC236}">
                <a16:creationId xmlns:a16="http://schemas.microsoft.com/office/drawing/2014/main" id="{469BAD5C-85B4-4F75-BCE9-0997AF0C8AB3}"/>
              </a:ext>
            </a:extLst>
          </p:cNvPr>
          <p:cNvSpPr txBox="1"/>
          <p:nvPr/>
        </p:nvSpPr>
        <p:spPr>
          <a:xfrm>
            <a:off x="959026" y="26986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Loss Ratio</a:t>
            </a:r>
            <a:endParaRPr/>
          </a:p>
        </p:txBody>
      </p:sp>
      <p:sp>
        <p:nvSpPr>
          <p:cNvPr id="180" name="9">
            <a:extLst>
              <a:ext uri="{FF2B5EF4-FFF2-40B4-BE49-F238E27FC236}">
                <a16:creationId xmlns:a16="http://schemas.microsoft.com/office/drawing/2014/main" id="{709DB1EE-B318-459D-9C12-46E21EF29C89}"/>
              </a:ext>
            </a:extLst>
          </p:cNvPr>
          <p:cNvSpPr txBox="1"/>
          <p:nvPr/>
        </p:nvSpPr>
        <p:spPr>
          <a:xfrm>
            <a:off x="2885734" y="3778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181" name="9">
            <a:extLst>
              <a:ext uri="{FF2B5EF4-FFF2-40B4-BE49-F238E27FC236}">
                <a16:creationId xmlns:a16="http://schemas.microsoft.com/office/drawing/2014/main" id="{23983019-992E-46F6-8668-B1B7568F1010}"/>
              </a:ext>
            </a:extLst>
          </p:cNvPr>
          <p:cNvSpPr txBox="1"/>
          <p:nvPr/>
        </p:nvSpPr>
        <p:spPr>
          <a:xfrm>
            <a:off x="2982769" y="4911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182" name="Gerade Verbindung 347">
            <a:extLst>
              <a:ext uri="{FF2B5EF4-FFF2-40B4-BE49-F238E27FC236}">
                <a16:creationId xmlns:a16="http://schemas.microsoft.com/office/drawing/2014/main" id="{881BBEF6-458B-4BC9-ADBA-682E008BDDB0}"/>
              </a:ext>
            </a:extLst>
          </p:cNvPr>
          <p:cNvCxnSpPr>
            <a:cxnSpLocks/>
          </p:cNvCxnSpPr>
          <p:nvPr/>
        </p:nvCxnSpPr>
        <p:spPr>
          <a:xfrm flipH="1">
            <a:off x="3040954" y="48786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347">
            <a:extLst>
              <a:ext uri="{FF2B5EF4-FFF2-40B4-BE49-F238E27FC236}">
                <a16:creationId xmlns:a16="http://schemas.microsoft.com/office/drawing/2014/main" id="{494263A5-BD10-437F-8E5F-7762A4793048}"/>
              </a:ext>
            </a:extLst>
          </p:cNvPr>
          <p:cNvCxnSpPr>
            <a:cxnSpLocks/>
          </p:cNvCxnSpPr>
          <p:nvPr/>
        </p:nvCxnSpPr>
        <p:spPr>
          <a:xfrm flipH="1">
            <a:off x="3040954" y="57472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347">
            <a:extLst>
              <a:ext uri="{FF2B5EF4-FFF2-40B4-BE49-F238E27FC236}">
                <a16:creationId xmlns:a16="http://schemas.microsoft.com/office/drawing/2014/main" id="{25599EC1-169B-46D8-B5B4-EAEF4C9124B7}"/>
              </a:ext>
            </a:extLst>
          </p:cNvPr>
          <p:cNvCxnSpPr>
            <a:cxnSpLocks/>
          </p:cNvCxnSpPr>
          <p:nvPr/>
        </p:nvCxnSpPr>
        <p:spPr>
          <a:xfrm flipH="1">
            <a:off x="3040954" y="66790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Gerade Verbindung 347">
            <a:extLst>
              <a:ext uri="{FF2B5EF4-FFF2-40B4-BE49-F238E27FC236}">
                <a16:creationId xmlns:a16="http://schemas.microsoft.com/office/drawing/2014/main" id="{23CD5EDE-659C-4CF6-B901-E7A27C66F345}"/>
              </a:ext>
            </a:extLst>
          </p:cNvPr>
          <p:cNvCxnSpPr>
            <a:cxnSpLocks/>
          </p:cNvCxnSpPr>
          <p:nvPr/>
        </p:nvCxnSpPr>
        <p:spPr>
          <a:xfrm flipH="1">
            <a:off x="3040954" y="75456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Rechteck 62">
            <a:extLst>
              <a:ext uri="{FF2B5EF4-FFF2-40B4-BE49-F238E27FC236}">
                <a16:creationId xmlns:a16="http://schemas.microsoft.com/office/drawing/2014/main" id="{029D3F99-FC7B-4DDC-B803-9FDC0BEE54C0}"/>
              </a:ext>
            </a:extLst>
          </p:cNvPr>
          <p:cNvSpPr/>
          <p:nvPr/>
        </p:nvSpPr>
        <p:spPr>
          <a:xfrm>
            <a:off x="666189" y="31765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87" name="Risk Hazard Group">
            <a:extLst>
              <a:ext uri="{FF2B5EF4-FFF2-40B4-BE49-F238E27FC236}">
                <a16:creationId xmlns:a16="http://schemas.microsoft.com/office/drawing/2014/main" id="{E54B6A03-8EBA-4338-BCCD-C94A02EB9471}"/>
              </a:ext>
            </a:extLst>
          </p:cNvPr>
          <p:cNvSpPr txBox="1"/>
          <p:nvPr/>
        </p:nvSpPr>
        <p:spPr>
          <a:xfrm>
            <a:off x="755826" y="33082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Loss Ratio by year</a:t>
            </a:r>
            <a:endParaRPr/>
          </a:p>
        </p:txBody>
      </p:sp>
      <p:sp>
        <p:nvSpPr>
          <p:cNvPr id="188" name="9">
            <a:extLst>
              <a:ext uri="{FF2B5EF4-FFF2-40B4-BE49-F238E27FC236}">
                <a16:creationId xmlns:a16="http://schemas.microsoft.com/office/drawing/2014/main" id="{22B3D3FA-77BB-4F0C-9EE1-BC5B50E3E3C3}"/>
              </a:ext>
            </a:extLst>
          </p:cNvPr>
          <p:cNvSpPr txBox="1"/>
          <p:nvPr/>
        </p:nvSpPr>
        <p:spPr>
          <a:xfrm>
            <a:off x="1456629" y="44872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189" name="Gruppieren 345">
            <a:extLst>
              <a:ext uri="{FF2B5EF4-FFF2-40B4-BE49-F238E27FC236}">
                <a16:creationId xmlns:a16="http://schemas.microsoft.com/office/drawing/2014/main" id="{A0FF9F3B-3900-41B8-897D-8154E2A76EB1}"/>
              </a:ext>
            </a:extLst>
          </p:cNvPr>
          <p:cNvGrpSpPr/>
          <p:nvPr/>
        </p:nvGrpSpPr>
        <p:grpSpPr>
          <a:xfrm>
            <a:off x="8503771" y="5160582"/>
            <a:ext cx="898623" cy="3221696"/>
            <a:chOff x="4630720" y="4527741"/>
            <a:chExt cx="898623" cy="3528900"/>
          </a:xfrm>
        </p:grpSpPr>
        <p:sp>
          <p:nvSpPr>
            <p:cNvPr id="190" name="9">
              <a:extLst>
                <a:ext uri="{FF2B5EF4-FFF2-40B4-BE49-F238E27FC236}">
                  <a16:creationId xmlns:a16="http://schemas.microsoft.com/office/drawing/2014/main" id="{CBEDDA15-32C0-4C63-8E46-9A1171E3123A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91" name="9">
              <a:extLst>
                <a:ext uri="{FF2B5EF4-FFF2-40B4-BE49-F238E27FC236}">
                  <a16:creationId xmlns:a16="http://schemas.microsoft.com/office/drawing/2014/main" id="{0EBE926C-D04C-4631-A242-61D75432F899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92" name="9">
              <a:extLst>
                <a:ext uri="{FF2B5EF4-FFF2-40B4-BE49-F238E27FC236}">
                  <a16:creationId xmlns:a16="http://schemas.microsoft.com/office/drawing/2014/main" id="{4B107979-A93A-41A1-A7E9-A7F01396EA84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93" name="9">
              <a:extLst>
                <a:ext uri="{FF2B5EF4-FFF2-40B4-BE49-F238E27FC236}">
                  <a16:creationId xmlns:a16="http://schemas.microsoft.com/office/drawing/2014/main" id="{B3BAF8AF-9E70-4A04-8241-9989FED77CB7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194" name="Gerade Verbindung 347">
            <a:extLst>
              <a:ext uri="{FF2B5EF4-FFF2-40B4-BE49-F238E27FC236}">
                <a16:creationId xmlns:a16="http://schemas.microsoft.com/office/drawing/2014/main" id="{72085E81-E212-47AD-B94C-1AAC2FF24BFE}"/>
              </a:ext>
            </a:extLst>
          </p:cNvPr>
          <p:cNvCxnSpPr/>
          <p:nvPr/>
        </p:nvCxnSpPr>
        <p:spPr>
          <a:xfrm>
            <a:off x="3040954" y="44872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Gerade Verbindung mit Pfeil 353">
            <a:extLst>
              <a:ext uri="{FF2B5EF4-FFF2-40B4-BE49-F238E27FC236}">
                <a16:creationId xmlns:a16="http://schemas.microsoft.com/office/drawing/2014/main" id="{F849CA59-AD53-4227-A593-02D1F472F974}"/>
              </a:ext>
            </a:extLst>
          </p:cNvPr>
          <p:cNvCxnSpPr>
            <a:cxnSpLocks/>
          </p:cNvCxnSpPr>
          <p:nvPr/>
        </p:nvCxnSpPr>
        <p:spPr>
          <a:xfrm>
            <a:off x="3040954" y="84256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6" name="9">
            <a:extLst>
              <a:ext uri="{FF2B5EF4-FFF2-40B4-BE49-F238E27FC236}">
                <a16:creationId xmlns:a16="http://schemas.microsoft.com/office/drawing/2014/main" id="{70DFEFDC-3AB4-4F7D-A64D-2D65D008A71B}"/>
              </a:ext>
            </a:extLst>
          </p:cNvPr>
          <p:cNvSpPr txBox="1"/>
          <p:nvPr/>
        </p:nvSpPr>
        <p:spPr>
          <a:xfrm>
            <a:off x="1405067" y="55386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197" name="Gruppieren 345">
            <a:extLst>
              <a:ext uri="{FF2B5EF4-FFF2-40B4-BE49-F238E27FC236}">
                <a16:creationId xmlns:a16="http://schemas.microsoft.com/office/drawing/2014/main" id="{36C0FD81-1A63-44BC-AE09-28E9B86DE857}"/>
              </a:ext>
            </a:extLst>
          </p:cNvPr>
          <p:cNvGrpSpPr/>
          <p:nvPr/>
        </p:nvGrpSpPr>
        <p:grpSpPr>
          <a:xfrm>
            <a:off x="3608285" y="6393024"/>
            <a:ext cx="898623" cy="1989145"/>
            <a:chOff x="4630720" y="5877816"/>
            <a:chExt cx="898623" cy="2178824"/>
          </a:xfrm>
        </p:grpSpPr>
        <p:sp>
          <p:nvSpPr>
            <p:cNvPr id="198" name="9">
              <a:extLst>
                <a:ext uri="{FF2B5EF4-FFF2-40B4-BE49-F238E27FC236}">
                  <a16:creationId xmlns:a16="http://schemas.microsoft.com/office/drawing/2014/main" id="{28E67B66-B21E-4DEB-BF2D-8884090C6C77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199" name="9">
              <a:extLst>
                <a:ext uri="{FF2B5EF4-FFF2-40B4-BE49-F238E27FC236}">
                  <a16:creationId xmlns:a16="http://schemas.microsoft.com/office/drawing/2014/main" id="{79785422-FA33-431D-B93D-D48B93C1D7B6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00" name="9">
              <a:extLst>
                <a:ext uri="{FF2B5EF4-FFF2-40B4-BE49-F238E27FC236}">
                  <a16:creationId xmlns:a16="http://schemas.microsoft.com/office/drawing/2014/main" id="{A6B4336B-4511-46FC-A2C4-50FF88FB5374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01" name="9">
              <a:extLst>
                <a:ext uri="{FF2B5EF4-FFF2-40B4-BE49-F238E27FC236}">
                  <a16:creationId xmlns:a16="http://schemas.microsoft.com/office/drawing/2014/main" id="{3F040766-6888-40A9-8A1E-951EF9B7443C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02" name="9">
            <a:extLst>
              <a:ext uri="{FF2B5EF4-FFF2-40B4-BE49-F238E27FC236}">
                <a16:creationId xmlns:a16="http://schemas.microsoft.com/office/drawing/2014/main" id="{D74D049F-97DD-40AB-A187-147ED76BCDD2}"/>
              </a:ext>
            </a:extLst>
          </p:cNvPr>
          <p:cNvSpPr txBox="1"/>
          <p:nvPr/>
        </p:nvSpPr>
        <p:spPr>
          <a:xfrm>
            <a:off x="3747142" y="85780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grpSp>
        <p:nvGrpSpPr>
          <p:cNvPr id="203" name="Gruppieren 345">
            <a:extLst>
              <a:ext uri="{FF2B5EF4-FFF2-40B4-BE49-F238E27FC236}">
                <a16:creationId xmlns:a16="http://schemas.microsoft.com/office/drawing/2014/main" id="{D35B4723-D773-42EB-826A-E39D9FD06F36}"/>
              </a:ext>
            </a:extLst>
          </p:cNvPr>
          <p:cNvGrpSpPr/>
          <p:nvPr/>
        </p:nvGrpSpPr>
        <p:grpSpPr>
          <a:xfrm>
            <a:off x="5208538" y="6009977"/>
            <a:ext cx="898623" cy="2372312"/>
            <a:chOff x="4630720" y="5710885"/>
            <a:chExt cx="898623" cy="2345755"/>
          </a:xfrm>
        </p:grpSpPr>
        <p:sp>
          <p:nvSpPr>
            <p:cNvPr id="204" name="9">
              <a:extLst>
                <a:ext uri="{FF2B5EF4-FFF2-40B4-BE49-F238E27FC236}">
                  <a16:creationId xmlns:a16="http://schemas.microsoft.com/office/drawing/2014/main" id="{EC5FFF90-DCFF-4B3D-8E75-57E0D0A7D630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05" name="9">
              <a:extLst>
                <a:ext uri="{FF2B5EF4-FFF2-40B4-BE49-F238E27FC236}">
                  <a16:creationId xmlns:a16="http://schemas.microsoft.com/office/drawing/2014/main" id="{BC44F74F-E2A5-4755-AD25-CEF05AB4AA83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06" name="9">
              <a:extLst>
                <a:ext uri="{FF2B5EF4-FFF2-40B4-BE49-F238E27FC236}">
                  <a16:creationId xmlns:a16="http://schemas.microsoft.com/office/drawing/2014/main" id="{C4ABD5BF-0C8B-4844-B7A9-4425DFBD0D40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07" name="9">
              <a:extLst>
                <a:ext uri="{FF2B5EF4-FFF2-40B4-BE49-F238E27FC236}">
                  <a16:creationId xmlns:a16="http://schemas.microsoft.com/office/drawing/2014/main" id="{DD2E2552-0FAD-48A7-9DB9-28B6D4622E3C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08" name="9">
            <a:extLst>
              <a:ext uri="{FF2B5EF4-FFF2-40B4-BE49-F238E27FC236}">
                <a16:creationId xmlns:a16="http://schemas.microsoft.com/office/drawing/2014/main" id="{F114E2D7-258E-44BC-AD0B-55907E9763E0}"/>
              </a:ext>
            </a:extLst>
          </p:cNvPr>
          <p:cNvSpPr txBox="1"/>
          <p:nvPr/>
        </p:nvSpPr>
        <p:spPr>
          <a:xfrm>
            <a:off x="5327627" y="85865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grpSp>
        <p:nvGrpSpPr>
          <p:cNvPr id="209" name="Gruppieren 345">
            <a:extLst>
              <a:ext uri="{FF2B5EF4-FFF2-40B4-BE49-F238E27FC236}">
                <a16:creationId xmlns:a16="http://schemas.microsoft.com/office/drawing/2014/main" id="{38183139-77B1-41B5-86FF-62A7589D0045}"/>
              </a:ext>
            </a:extLst>
          </p:cNvPr>
          <p:cNvGrpSpPr/>
          <p:nvPr/>
        </p:nvGrpSpPr>
        <p:grpSpPr>
          <a:xfrm>
            <a:off x="6840376" y="5735105"/>
            <a:ext cx="898623" cy="2647067"/>
            <a:chOff x="4630720" y="5157159"/>
            <a:chExt cx="898623" cy="2899481"/>
          </a:xfrm>
        </p:grpSpPr>
        <p:sp>
          <p:nvSpPr>
            <p:cNvPr id="210" name="9">
              <a:extLst>
                <a:ext uri="{FF2B5EF4-FFF2-40B4-BE49-F238E27FC236}">
                  <a16:creationId xmlns:a16="http://schemas.microsoft.com/office/drawing/2014/main" id="{448C5B91-8032-46C7-9AC5-6494DA51F93A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11" name="9">
              <a:extLst>
                <a:ext uri="{FF2B5EF4-FFF2-40B4-BE49-F238E27FC236}">
                  <a16:creationId xmlns:a16="http://schemas.microsoft.com/office/drawing/2014/main" id="{BE754FB3-1C1B-45EF-B2A6-3BE89E465CF1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12" name="9">
              <a:extLst>
                <a:ext uri="{FF2B5EF4-FFF2-40B4-BE49-F238E27FC236}">
                  <a16:creationId xmlns:a16="http://schemas.microsoft.com/office/drawing/2014/main" id="{B0210E21-D414-4A43-89B2-FDB90C71DC1A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13" name="9">
              <a:extLst>
                <a:ext uri="{FF2B5EF4-FFF2-40B4-BE49-F238E27FC236}">
                  <a16:creationId xmlns:a16="http://schemas.microsoft.com/office/drawing/2014/main" id="{6A14AEB0-F9AF-4E1B-A306-5DCA7E879EE7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14" name="9">
            <a:extLst>
              <a:ext uri="{FF2B5EF4-FFF2-40B4-BE49-F238E27FC236}">
                <a16:creationId xmlns:a16="http://schemas.microsoft.com/office/drawing/2014/main" id="{08B36FDD-3CA3-480E-B69F-811ACA469763}"/>
              </a:ext>
            </a:extLst>
          </p:cNvPr>
          <p:cNvSpPr txBox="1"/>
          <p:nvPr/>
        </p:nvSpPr>
        <p:spPr>
          <a:xfrm>
            <a:off x="6966750" y="85719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215" name="9">
            <a:extLst>
              <a:ext uri="{FF2B5EF4-FFF2-40B4-BE49-F238E27FC236}">
                <a16:creationId xmlns:a16="http://schemas.microsoft.com/office/drawing/2014/main" id="{B05D102B-CF16-49C3-B9B9-B82159405FB0}"/>
              </a:ext>
            </a:extLst>
          </p:cNvPr>
          <p:cNvSpPr txBox="1"/>
          <p:nvPr/>
        </p:nvSpPr>
        <p:spPr>
          <a:xfrm>
            <a:off x="8657246" y="8543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grpSp>
        <p:nvGrpSpPr>
          <p:cNvPr id="216" name="Gruppieren 345">
            <a:extLst>
              <a:ext uri="{FF2B5EF4-FFF2-40B4-BE49-F238E27FC236}">
                <a16:creationId xmlns:a16="http://schemas.microsoft.com/office/drawing/2014/main" id="{D6055F47-239A-4FA4-B571-8F84A3253CAB}"/>
              </a:ext>
            </a:extLst>
          </p:cNvPr>
          <p:cNvGrpSpPr/>
          <p:nvPr/>
        </p:nvGrpSpPr>
        <p:grpSpPr>
          <a:xfrm>
            <a:off x="10151362" y="5735105"/>
            <a:ext cx="898623" cy="2647067"/>
            <a:chOff x="4630720" y="5157159"/>
            <a:chExt cx="898623" cy="2899481"/>
          </a:xfrm>
        </p:grpSpPr>
        <p:sp>
          <p:nvSpPr>
            <p:cNvPr id="217" name="9">
              <a:extLst>
                <a:ext uri="{FF2B5EF4-FFF2-40B4-BE49-F238E27FC236}">
                  <a16:creationId xmlns:a16="http://schemas.microsoft.com/office/drawing/2014/main" id="{DA129AF3-D6EC-4163-A455-930272747A2D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18" name="9">
              <a:extLst>
                <a:ext uri="{FF2B5EF4-FFF2-40B4-BE49-F238E27FC236}">
                  <a16:creationId xmlns:a16="http://schemas.microsoft.com/office/drawing/2014/main" id="{C7407E14-67EF-4DFD-BDFC-E6C98D2AB787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19" name="9">
              <a:extLst>
                <a:ext uri="{FF2B5EF4-FFF2-40B4-BE49-F238E27FC236}">
                  <a16:creationId xmlns:a16="http://schemas.microsoft.com/office/drawing/2014/main" id="{2C1D2D4A-69B6-47DE-B519-E3B848745CA6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20" name="9">
              <a:extLst>
                <a:ext uri="{FF2B5EF4-FFF2-40B4-BE49-F238E27FC236}">
                  <a16:creationId xmlns:a16="http://schemas.microsoft.com/office/drawing/2014/main" id="{4A1C157B-6000-4E67-9A5B-8BF7C3169520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21" name="9">
            <a:extLst>
              <a:ext uri="{FF2B5EF4-FFF2-40B4-BE49-F238E27FC236}">
                <a16:creationId xmlns:a16="http://schemas.microsoft.com/office/drawing/2014/main" id="{369600D4-82A1-46FE-91E9-572A900F8AB1}"/>
              </a:ext>
            </a:extLst>
          </p:cNvPr>
          <p:cNvSpPr txBox="1"/>
          <p:nvPr/>
        </p:nvSpPr>
        <p:spPr>
          <a:xfrm>
            <a:off x="10271168" y="8543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222" name="9">
            <a:extLst>
              <a:ext uri="{FF2B5EF4-FFF2-40B4-BE49-F238E27FC236}">
                <a16:creationId xmlns:a16="http://schemas.microsoft.com/office/drawing/2014/main" id="{CB133B0B-D3AB-4131-A579-5635390FC847}"/>
              </a:ext>
            </a:extLst>
          </p:cNvPr>
          <p:cNvSpPr txBox="1"/>
          <p:nvPr/>
        </p:nvSpPr>
        <p:spPr>
          <a:xfrm>
            <a:off x="1995302" y="74034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223" name="9">
            <a:extLst>
              <a:ext uri="{FF2B5EF4-FFF2-40B4-BE49-F238E27FC236}">
                <a16:creationId xmlns:a16="http://schemas.microsoft.com/office/drawing/2014/main" id="{0CDA9439-32B3-48DC-A1AA-24DFC2D578DB}"/>
              </a:ext>
            </a:extLst>
          </p:cNvPr>
          <p:cNvSpPr txBox="1"/>
          <p:nvPr/>
        </p:nvSpPr>
        <p:spPr>
          <a:xfrm>
            <a:off x="1995302" y="65373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224" name="9">
            <a:extLst>
              <a:ext uri="{FF2B5EF4-FFF2-40B4-BE49-F238E27FC236}">
                <a16:creationId xmlns:a16="http://schemas.microsoft.com/office/drawing/2014/main" id="{5C368627-A61E-40AA-BFA9-E7B5670A575E}"/>
              </a:ext>
            </a:extLst>
          </p:cNvPr>
          <p:cNvSpPr txBox="1"/>
          <p:nvPr/>
        </p:nvSpPr>
        <p:spPr>
          <a:xfrm>
            <a:off x="2021332" y="56036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225" name="9">
            <a:extLst>
              <a:ext uri="{FF2B5EF4-FFF2-40B4-BE49-F238E27FC236}">
                <a16:creationId xmlns:a16="http://schemas.microsoft.com/office/drawing/2014/main" id="{C62817B5-F358-48A8-9A7F-6125D73858EC}"/>
              </a:ext>
            </a:extLst>
          </p:cNvPr>
          <p:cNvSpPr txBox="1"/>
          <p:nvPr/>
        </p:nvSpPr>
        <p:spPr>
          <a:xfrm>
            <a:off x="2021332" y="47369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226" name="Table 225">
            <a:extLst>
              <a:ext uri="{FF2B5EF4-FFF2-40B4-BE49-F238E27FC236}">
                <a16:creationId xmlns:a16="http://schemas.microsoft.com/office/drawing/2014/main" id="{377CACB6-4293-4C32-BDE7-55FA756519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820229"/>
              </p:ext>
            </p:extLst>
          </p:nvPr>
        </p:nvGraphicFramePr>
        <p:xfrm>
          <a:off x="5713036" y="8943678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227" name="9">
            <a:extLst>
              <a:ext uri="{FF2B5EF4-FFF2-40B4-BE49-F238E27FC236}">
                <a16:creationId xmlns:a16="http://schemas.microsoft.com/office/drawing/2014/main" id="{0CA323DD-B5F6-428D-A0B8-EEAD7FD7824D}"/>
              </a:ext>
            </a:extLst>
          </p:cNvPr>
          <p:cNvSpPr txBox="1"/>
          <p:nvPr/>
        </p:nvSpPr>
        <p:spPr>
          <a:xfrm>
            <a:off x="5530382" y="90082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8" name="9">
            <a:extLst>
              <a:ext uri="{FF2B5EF4-FFF2-40B4-BE49-F238E27FC236}">
                <a16:creationId xmlns:a16="http://schemas.microsoft.com/office/drawing/2014/main" id="{433D5D80-2B71-4C5A-936E-9C651D4B289C}"/>
              </a:ext>
            </a:extLst>
          </p:cNvPr>
          <p:cNvSpPr txBox="1"/>
          <p:nvPr/>
        </p:nvSpPr>
        <p:spPr>
          <a:xfrm>
            <a:off x="5530382" y="93041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29" name="9">
            <a:extLst>
              <a:ext uri="{FF2B5EF4-FFF2-40B4-BE49-F238E27FC236}">
                <a16:creationId xmlns:a16="http://schemas.microsoft.com/office/drawing/2014/main" id="{39BA8DD0-787C-4ADD-99BB-3025518AE82D}"/>
              </a:ext>
            </a:extLst>
          </p:cNvPr>
          <p:cNvSpPr txBox="1"/>
          <p:nvPr/>
        </p:nvSpPr>
        <p:spPr>
          <a:xfrm>
            <a:off x="5530382" y="96086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0" name="9">
            <a:extLst>
              <a:ext uri="{FF2B5EF4-FFF2-40B4-BE49-F238E27FC236}">
                <a16:creationId xmlns:a16="http://schemas.microsoft.com/office/drawing/2014/main" id="{B6149CAF-F2D9-453A-909F-65C73398F823}"/>
              </a:ext>
            </a:extLst>
          </p:cNvPr>
          <p:cNvSpPr txBox="1"/>
          <p:nvPr/>
        </p:nvSpPr>
        <p:spPr>
          <a:xfrm>
            <a:off x="11324336" y="8549147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grpSp>
        <p:nvGrpSpPr>
          <p:cNvPr id="231" name="Gruppieren 32">
            <a:extLst>
              <a:ext uri="{FF2B5EF4-FFF2-40B4-BE49-F238E27FC236}">
                <a16:creationId xmlns:a16="http://schemas.microsoft.com/office/drawing/2014/main" id="{4C96F594-2E7A-4B7E-A197-7FD62B81FE7A}"/>
              </a:ext>
            </a:extLst>
          </p:cNvPr>
          <p:cNvGrpSpPr>
            <a:grpSpLocks noChangeAspect="1"/>
          </p:cNvGrpSpPr>
          <p:nvPr/>
        </p:nvGrpSpPr>
        <p:grpSpPr>
          <a:xfrm>
            <a:off x="9785816" y="4079485"/>
            <a:ext cx="1871197" cy="641433"/>
            <a:chOff x="543123" y="1292927"/>
            <a:chExt cx="4309574" cy="825882"/>
          </a:xfrm>
        </p:grpSpPr>
        <p:pic>
          <p:nvPicPr>
            <p:cNvPr id="23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B8703E33-2B60-428C-B7E9-9C4E38C25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3" name="Rectangle">
              <a:extLst>
                <a:ext uri="{FF2B5EF4-FFF2-40B4-BE49-F238E27FC236}">
                  <a16:creationId xmlns:a16="http://schemas.microsoft.com/office/drawing/2014/main" id="{DFC76C9D-28C5-4C78-B72A-00D43C35F067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34" name="All">
              <a:extLst>
                <a:ext uri="{FF2B5EF4-FFF2-40B4-BE49-F238E27FC236}">
                  <a16:creationId xmlns:a16="http://schemas.microsoft.com/office/drawing/2014/main" id="{7C9DACD2-33FA-4F49-9FEC-E681C96B3C52}"/>
                </a:ext>
              </a:extLst>
            </p:cNvPr>
            <p:cNvSpPr txBox="1"/>
            <p:nvPr/>
          </p:nvSpPr>
          <p:spPr>
            <a:xfrm>
              <a:off x="599743" y="1398681"/>
              <a:ext cx="333471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ot cumulative</a:t>
              </a:r>
              <a:endParaRPr/>
            </a:p>
          </p:txBody>
        </p:sp>
      </p:grpSp>
      <p:sp>
        <p:nvSpPr>
          <p:cNvPr id="235" name="Rectangle 234">
            <a:extLst>
              <a:ext uri="{FF2B5EF4-FFF2-40B4-BE49-F238E27FC236}">
                <a16:creationId xmlns:a16="http://schemas.microsoft.com/office/drawing/2014/main" id="{D59C25F4-C80A-4A78-BA43-1FA35BB7A954}"/>
              </a:ext>
            </a:extLst>
          </p:cNvPr>
          <p:cNvSpPr/>
          <p:nvPr/>
        </p:nvSpPr>
        <p:spPr>
          <a:xfrm>
            <a:off x="9583844" y="3891717"/>
            <a:ext cx="2424205" cy="882797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6FE8D16B-BF19-4B77-8370-FDE007A5D63E}"/>
              </a:ext>
            </a:extLst>
          </p:cNvPr>
          <p:cNvSpPr txBox="1"/>
          <p:nvPr/>
        </p:nvSpPr>
        <p:spPr>
          <a:xfrm>
            <a:off x="705352" y="4082206"/>
            <a:ext cx="8786132" cy="471924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 i="0">
                <a:solidFill>
                  <a:srgbClr val="00B050"/>
                </a:solidFill>
                <a:effectLst/>
                <a:latin typeface="-apple-system"/>
              </a:rPr>
              <a:t>Loss Ratio on yearly basis as well as on cumulative basis</a:t>
            </a:r>
            <a:endParaRPr kumimoji="0" lang="de-DE" sz="2400" b="1" i="0" u="none" strike="noStrike" cap="none" spc="0" normalizeH="0" baseline="0">
              <a:ln>
                <a:noFill/>
              </a:ln>
              <a:solidFill>
                <a:srgbClr val="00B05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7" name="9">
            <a:extLst>
              <a:ext uri="{FF2B5EF4-FFF2-40B4-BE49-F238E27FC236}">
                <a16:creationId xmlns:a16="http://schemas.microsoft.com/office/drawing/2014/main" id="{59758005-68A6-422D-9A99-C91185E47AC5}"/>
              </a:ext>
            </a:extLst>
          </p:cNvPr>
          <p:cNvSpPr txBox="1"/>
          <p:nvPr/>
        </p:nvSpPr>
        <p:spPr>
          <a:xfrm>
            <a:off x="14620534" y="38040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38" name="9">
            <a:extLst>
              <a:ext uri="{FF2B5EF4-FFF2-40B4-BE49-F238E27FC236}">
                <a16:creationId xmlns:a16="http://schemas.microsoft.com/office/drawing/2014/main" id="{98C88A14-DD6D-4F23-816C-6C9BC30F3C61}"/>
              </a:ext>
            </a:extLst>
          </p:cNvPr>
          <p:cNvSpPr txBox="1"/>
          <p:nvPr/>
        </p:nvSpPr>
        <p:spPr>
          <a:xfrm>
            <a:off x="14717569" y="49369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239" name="Gerade Verbindung 347">
            <a:extLst>
              <a:ext uri="{FF2B5EF4-FFF2-40B4-BE49-F238E27FC236}">
                <a16:creationId xmlns:a16="http://schemas.microsoft.com/office/drawing/2014/main" id="{9493D9C7-1605-446C-B443-7843189510B5}"/>
              </a:ext>
            </a:extLst>
          </p:cNvPr>
          <p:cNvCxnSpPr>
            <a:cxnSpLocks/>
          </p:cNvCxnSpPr>
          <p:nvPr/>
        </p:nvCxnSpPr>
        <p:spPr>
          <a:xfrm flipH="1">
            <a:off x="14775754" y="49040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Gerade Verbindung 347">
            <a:extLst>
              <a:ext uri="{FF2B5EF4-FFF2-40B4-BE49-F238E27FC236}">
                <a16:creationId xmlns:a16="http://schemas.microsoft.com/office/drawing/2014/main" id="{80C1F300-6A08-47D0-B051-D347180CA085}"/>
              </a:ext>
            </a:extLst>
          </p:cNvPr>
          <p:cNvCxnSpPr>
            <a:cxnSpLocks/>
          </p:cNvCxnSpPr>
          <p:nvPr/>
        </p:nvCxnSpPr>
        <p:spPr>
          <a:xfrm flipH="1">
            <a:off x="14775754" y="57726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Gerade Verbindung 347">
            <a:extLst>
              <a:ext uri="{FF2B5EF4-FFF2-40B4-BE49-F238E27FC236}">
                <a16:creationId xmlns:a16="http://schemas.microsoft.com/office/drawing/2014/main" id="{CD6C1BBE-D9D6-43C8-A444-D7D517D3CF58}"/>
              </a:ext>
            </a:extLst>
          </p:cNvPr>
          <p:cNvCxnSpPr>
            <a:cxnSpLocks/>
          </p:cNvCxnSpPr>
          <p:nvPr/>
        </p:nvCxnSpPr>
        <p:spPr>
          <a:xfrm flipH="1">
            <a:off x="14775754" y="67044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Gerade Verbindung 347">
            <a:extLst>
              <a:ext uri="{FF2B5EF4-FFF2-40B4-BE49-F238E27FC236}">
                <a16:creationId xmlns:a16="http://schemas.microsoft.com/office/drawing/2014/main" id="{0C5A6F0A-C204-431B-B9D7-ABAD58B1BE6E}"/>
              </a:ext>
            </a:extLst>
          </p:cNvPr>
          <p:cNvCxnSpPr>
            <a:cxnSpLocks/>
          </p:cNvCxnSpPr>
          <p:nvPr/>
        </p:nvCxnSpPr>
        <p:spPr>
          <a:xfrm flipH="1">
            <a:off x="14775754" y="75710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3" name="Rechteck 62">
            <a:extLst>
              <a:ext uri="{FF2B5EF4-FFF2-40B4-BE49-F238E27FC236}">
                <a16:creationId xmlns:a16="http://schemas.microsoft.com/office/drawing/2014/main" id="{521FD31B-ED2A-4B83-9CCD-7753BD67AEA1}"/>
              </a:ext>
            </a:extLst>
          </p:cNvPr>
          <p:cNvSpPr/>
          <p:nvPr/>
        </p:nvSpPr>
        <p:spPr>
          <a:xfrm>
            <a:off x="12400989" y="32019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44" name="Risk Hazard Group">
            <a:extLst>
              <a:ext uri="{FF2B5EF4-FFF2-40B4-BE49-F238E27FC236}">
                <a16:creationId xmlns:a16="http://schemas.microsoft.com/office/drawing/2014/main" id="{E197D396-4A05-4B1F-8D70-547F18E16152}"/>
              </a:ext>
            </a:extLst>
          </p:cNvPr>
          <p:cNvSpPr txBox="1"/>
          <p:nvPr/>
        </p:nvSpPr>
        <p:spPr>
          <a:xfrm>
            <a:off x="12490626" y="33336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GWP net growth by year</a:t>
            </a:r>
            <a:endParaRPr/>
          </a:p>
        </p:txBody>
      </p:sp>
      <p:sp>
        <p:nvSpPr>
          <p:cNvPr id="245" name="9">
            <a:extLst>
              <a:ext uri="{FF2B5EF4-FFF2-40B4-BE49-F238E27FC236}">
                <a16:creationId xmlns:a16="http://schemas.microsoft.com/office/drawing/2014/main" id="{E48404EB-AB45-41C3-A0EE-65E741F03956}"/>
              </a:ext>
            </a:extLst>
          </p:cNvPr>
          <p:cNvSpPr txBox="1"/>
          <p:nvPr/>
        </p:nvSpPr>
        <p:spPr>
          <a:xfrm>
            <a:off x="13191429" y="45126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246" name="Gruppieren 345">
            <a:extLst>
              <a:ext uri="{FF2B5EF4-FFF2-40B4-BE49-F238E27FC236}">
                <a16:creationId xmlns:a16="http://schemas.microsoft.com/office/drawing/2014/main" id="{17477F8D-F774-44F5-8F1E-7DB26C06C445}"/>
              </a:ext>
            </a:extLst>
          </p:cNvPr>
          <p:cNvGrpSpPr/>
          <p:nvPr/>
        </p:nvGrpSpPr>
        <p:grpSpPr>
          <a:xfrm>
            <a:off x="20238571" y="5185982"/>
            <a:ext cx="898623" cy="3221696"/>
            <a:chOff x="4630720" y="4527741"/>
            <a:chExt cx="898623" cy="3528900"/>
          </a:xfrm>
        </p:grpSpPr>
        <p:sp>
          <p:nvSpPr>
            <p:cNvPr id="247" name="9">
              <a:extLst>
                <a:ext uri="{FF2B5EF4-FFF2-40B4-BE49-F238E27FC236}">
                  <a16:creationId xmlns:a16="http://schemas.microsoft.com/office/drawing/2014/main" id="{17ECAC2E-7CC7-4D0F-B716-F118585E8BBC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48" name="9">
              <a:extLst>
                <a:ext uri="{FF2B5EF4-FFF2-40B4-BE49-F238E27FC236}">
                  <a16:creationId xmlns:a16="http://schemas.microsoft.com/office/drawing/2014/main" id="{FBFFF912-2EA0-4440-85DA-56B066F34D6E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49" name="9">
              <a:extLst>
                <a:ext uri="{FF2B5EF4-FFF2-40B4-BE49-F238E27FC236}">
                  <a16:creationId xmlns:a16="http://schemas.microsoft.com/office/drawing/2014/main" id="{6850DC18-0E6D-4842-867D-AB343BFA9B87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0" name="9">
              <a:extLst>
                <a:ext uri="{FF2B5EF4-FFF2-40B4-BE49-F238E27FC236}">
                  <a16:creationId xmlns:a16="http://schemas.microsoft.com/office/drawing/2014/main" id="{0F9D0471-586A-4D7D-8662-D0C309F64C8D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251" name="Gerade Verbindung 347">
            <a:extLst>
              <a:ext uri="{FF2B5EF4-FFF2-40B4-BE49-F238E27FC236}">
                <a16:creationId xmlns:a16="http://schemas.microsoft.com/office/drawing/2014/main" id="{5EC9505A-A39D-4001-A783-4A776CE7654F}"/>
              </a:ext>
            </a:extLst>
          </p:cNvPr>
          <p:cNvCxnSpPr/>
          <p:nvPr/>
        </p:nvCxnSpPr>
        <p:spPr>
          <a:xfrm>
            <a:off x="14775754" y="45126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353">
            <a:extLst>
              <a:ext uri="{FF2B5EF4-FFF2-40B4-BE49-F238E27FC236}">
                <a16:creationId xmlns:a16="http://schemas.microsoft.com/office/drawing/2014/main" id="{A3641E2E-0FFE-4715-8C17-A64CCA2B819B}"/>
              </a:ext>
            </a:extLst>
          </p:cNvPr>
          <p:cNvCxnSpPr>
            <a:cxnSpLocks/>
          </p:cNvCxnSpPr>
          <p:nvPr/>
        </p:nvCxnSpPr>
        <p:spPr>
          <a:xfrm>
            <a:off x="14775754" y="84510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3" name="9">
            <a:extLst>
              <a:ext uri="{FF2B5EF4-FFF2-40B4-BE49-F238E27FC236}">
                <a16:creationId xmlns:a16="http://schemas.microsoft.com/office/drawing/2014/main" id="{9C148C9B-5957-45F4-AAA8-7C6C520F0DBB}"/>
              </a:ext>
            </a:extLst>
          </p:cNvPr>
          <p:cNvSpPr txBox="1"/>
          <p:nvPr/>
        </p:nvSpPr>
        <p:spPr>
          <a:xfrm>
            <a:off x="13139867" y="55640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254" name="Gruppieren 345">
            <a:extLst>
              <a:ext uri="{FF2B5EF4-FFF2-40B4-BE49-F238E27FC236}">
                <a16:creationId xmlns:a16="http://schemas.microsoft.com/office/drawing/2014/main" id="{5709E079-90E0-4BAC-8106-6AEDDC171398}"/>
              </a:ext>
            </a:extLst>
          </p:cNvPr>
          <p:cNvGrpSpPr/>
          <p:nvPr/>
        </p:nvGrpSpPr>
        <p:grpSpPr>
          <a:xfrm>
            <a:off x="15343085" y="6418424"/>
            <a:ext cx="898623" cy="1989145"/>
            <a:chOff x="4630720" y="5877816"/>
            <a:chExt cx="898623" cy="2178824"/>
          </a:xfrm>
        </p:grpSpPr>
        <p:sp>
          <p:nvSpPr>
            <p:cNvPr id="255" name="9">
              <a:extLst>
                <a:ext uri="{FF2B5EF4-FFF2-40B4-BE49-F238E27FC236}">
                  <a16:creationId xmlns:a16="http://schemas.microsoft.com/office/drawing/2014/main" id="{F7885B17-3422-4E57-AD3A-75BF1C0A6C5B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6" name="9">
              <a:extLst>
                <a:ext uri="{FF2B5EF4-FFF2-40B4-BE49-F238E27FC236}">
                  <a16:creationId xmlns:a16="http://schemas.microsoft.com/office/drawing/2014/main" id="{FFD40DDA-CF39-402C-A5E8-739D802C8897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7" name="9">
              <a:extLst>
                <a:ext uri="{FF2B5EF4-FFF2-40B4-BE49-F238E27FC236}">
                  <a16:creationId xmlns:a16="http://schemas.microsoft.com/office/drawing/2014/main" id="{D4DD7738-5C7B-47AC-9B49-C304E5B2710B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9" name="9">
              <a:extLst>
                <a:ext uri="{FF2B5EF4-FFF2-40B4-BE49-F238E27FC236}">
                  <a16:creationId xmlns:a16="http://schemas.microsoft.com/office/drawing/2014/main" id="{41BD1CD0-0137-4942-85B1-05BA86905647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61" name="9">
            <a:extLst>
              <a:ext uri="{FF2B5EF4-FFF2-40B4-BE49-F238E27FC236}">
                <a16:creationId xmlns:a16="http://schemas.microsoft.com/office/drawing/2014/main" id="{350C0D16-AD71-429E-8592-F27266DD650E}"/>
              </a:ext>
            </a:extLst>
          </p:cNvPr>
          <p:cNvSpPr txBox="1"/>
          <p:nvPr/>
        </p:nvSpPr>
        <p:spPr>
          <a:xfrm>
            <a:off x="15481942" y="86034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grpSp>
        <p:nvGrpSpPr>
          <p:cNvPr id="262" name="Gruppieren 345">
            <a:extLst>
              <a:ext uri="{FF2B5EF4-FFF2-40B4-BE49-F238E27FC236}">
                <a16:creationId xmlns:a16="http://schemas.microsoft.com/office/drawing/2014/main" id="{1F02E593-B2A9-4B21-A33E-07DA581D1A28}"/>
              </a:ext>
            </a:extLst>
          </p:cNvPr>
          <p:cNvGrpSpPr/>
          <p:nvPr/>
        </p:nvGrpSpPr>
        <p:grpSpPr>
          <a:xfrm>
            <a:off x="16943338" y="6035377"/>
            <a:ext cx="898623" cy="2372312"/>
            <a:chOff x="4630720" y="5710885"/>
            <a:chExt cx="898623" cy="2345755"/>
          </a:xfrm>
        </p:grpSpPr>
        <p:sp>
          <p:nvSpPr>
            <p:cNvPr id="265" name="9">
              <a:extLst>
                <a:ext uri="{FF2B5EF4-FFF2-40B4-BE49-F238E27FC236}">
                  <a16:creationId xmlns:a16="http://schemas.microsoft.com/office/drawing/2014/main" id="{50E778FC-5F2A-44CC-91E8-1D011965D9D7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5" name="9">
              <a:extLst>
                <a:ext uri="{FF2B5EF4-FFF2-40B4-BE49-F238E27FC236}">
                  <a16:creationId xmlns:a16="http://schemas.microsoft.com/office/drawing/2014/main" id="{338CAB91-C6BE-4D85-841F-5FAB05C05A07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6" name="9">
              <a:extLst>
                <a:ext uri="{FF2B5EF4-FFF2-40B4-BE49-F238E27FC236}">
                  <a16:creationId xmlns:a16="http://schemas.microsoft.com/office/drawing/2014/main" id="{0DF8694F-E1BE-4C42-8DD4-B20FFC32C9FB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7" name="9">
              <a:extLst>
                <a:ext uri="{FF2B5EF4-FFF2-40B4-BE49-F238E27FC236}">
                  <a16:creationId xmlns:a16="http://schemas.microsoft.com/office/drawing/2014/main" id="{DEA2D82A-A399-430F-AF05-209492B463D5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78" name="9">
            <a:extLst>
              <a:ext uri="{FF2B5EF4-FFF2-40B4-BE49-F238E27FC236}">
                <a16:creationId xmlns:a16="http://schemas.microsoft.com/office/drawing/2014/main" id="{3D153046-076D-407E-9395-F73C8C72E269}"/>
              </a:ext>
            </a:extLst>
          </p:cNvPr>
          <p:cNvSpPr txBox="1"/>
          <p:nvPr/>
        </p:nvSpPr>
        <p:spPr>
          <a:xfrm>
            <a:off x="17062427" y="86119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grpSp>
        <p:nvGrpSpPr>
          <p:cNvPr id="279" name="Gruppieren 345">
            <a:extLst>
              <a:ext uri="{FF2B5EF4-FFF2-40B4-BE49-F238E27FC236}">
                <a16:creationId xmlns:a16="http://schemas.microsoft.com/office/drawing/2014/main" id="{85C47EFD-DCD8-4FA6-A0F9-12C59472D4F4}"/>
              </a:ext>
            </a:extLst>
          </p:cNvPr>
          <p:cNvGrpSpPr/>
          <p:nvPr/>
        </p:nvGrpSpPr>
        <p:grpSpPr>
          <a:xfrm>
            <a:off x="18575176" y="5760505"/>
            <a:ext cx="898623" cy="2647067"/>
            <a:chOff x="4630720" y="5157159"/>
            <a:chExt cx="898623" cy="2899481"/>
          </a:xfrm>
        </p:grpSpPr>
        <p:sp>
          <p:nvSpPr>
            <p:cNvPr id="280" name="9">
              <a:extLst>
                <a:ext uri="{FF2B5EF4-FFF2-40B4-BE49-F238E27FC236}">
                  <a16:creationId xmlns:a16="http://schemas.microsoft.com/office/drawing/2014/main" id="{2BC50CA1-74BE-4FE2-BB27-42B1AF088627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1" name="9">
              <a:extLst>
                <a:ext uri="{FF2B5EF4-FFF2-40B4-BE49-F238E27FC236}">
                  <a16:creationId xmlns:a16="http://schemas.microsoft.com/office/drawing/2014/main" id="{E7A4DCF3-E7DE-4BC1-AD5F-41BE29CEB598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3" name="9">
              <a:extLst>
                <a:ext uri="{FF2B5EF4-FFF2-40B4-BE49-F238E27FC236}">
                  <a16:creationId xmlns:a16="http://schemas.microsoft.com/office/drawing/2014/main" id="{5B16D8A8-D7AB-4FE8-B83A-4316B850E302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4" name="9">
              <a:extLst>
                <a:ext uri="{FF2B5EF4-FFF2-40B4-BE49-F238E27FC236}">
                  <a16:creationId xmlns:a16="http://schemas.microsoft.com/office/drawing/2014/main" id="{FCA967E4-1B89-4698-B4FF-C84B65BE370C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85" name="9">
            <a:extLst>
              <a:ext uri="{FF2B5EF4-FFF2-40B4-BE49-F238E27FC236}">
                <a16:creationId xmlns:a16="http://schemas.microsoft.com/office/drawing/2014/main" id="{8236B807-F734-45BD-AA48-31416D0EF137}"/>
              </a:ext>
            </a:extLst>
          </p:cNvPr>
          <p:cNvSpPr txBox="1"/>
          <p:nvPr/>
        </p:nvSpPr>
        <p:spPr>
          <a:xfrm>
            <a:off x="18701550" y="85973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286" name="9">
            <a:extLst>
              <a:ext uri="{FF2B5EF4-FFF2-40B4-BE49-F238E27FC236}">
                <a16:creationId xmlns:a16="http://schemas.microsoft.com/office/drawing/2014/main" id="{B21CC12A-736C-400E-A2EA-2F9A24D94A25}"/>
              </a:ext>
            </a:extLst>
          </p:cNvPr>
          <p:cNvSpPr txBox="1"/>
          <p:nvPr/>
        </p:nvSpPr>
        <p:spPr>
          <a:xfrm>
            <a:off x="20392046" y="85685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grpSp>
        <p:nvGrpSpPr>
          <p:cNvPr id="287" name="Gruppieren 345">
            <a:extLst>
              <a:ext uri="{FF2B5EF4-FFF2-40B4-BE49-F238E27FC236}">
                <a16:creationId xmlns:a16="http://schemas.microsoft.com/office/drawing/2014/main" id="{823F70B9-1910-4D4A-B8C1-67A79F406ABC}"/>
              </a:ext>
            </a:extLst>
          </p:cNvPr>
          <p:cNvGrpSpPr/>
          <p:nvPr/>
        </p:nvGrpSpPr>
        <p:grpSpPr>
          <a:xfrm>
            <a:off x="21886162" y="5760505"/>
            <a:ext cx="898623" cy="2647067"/>
            <a:chOff x="4630720" y="5157159"/>
            <a:chExt cx="898623" cy="2899481"/>
          </a:xfrm>
        </p:grpSpPr>
        <p:sp>
          <p:nvSpPr>
            <p:cNvPr id="288" name="9">
              <a:extLst>
                <a:ext uri="{FF2B5EF4-FFF2-40B4-BE49-F238E27FC236}">
                  <a16:creationId xmlns:a16="http://schemas.microsoft.com/office/drawing/2014/main" id="{AED00FF4-61CC-432D-9FAA-BB4DFE430E37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9" name="9">
              <a:extLst>
                <a:ext uri="{FF2B5EF4-FFF2-40B4-BE49-F238E27FC236}">
                  <a16:creationId xmlns:a16="http://schemas.microsoft.com/office/drawing/2014/main" id="{5BB0D13D-E172-48FB-A567-721E4C720B9F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90" name="9">
              <a:extLst>
                <a:ext uri="{FF2B5EF4-FFF2-40B4-BE49-F238E27FC236}">
                  <a16:creationId xmlns:a16="http://schemas.microsoft.com/office/drawing/2014/main" id="{3AC1D248-CA86-4828-A5C5-F75AAF23A27D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91" name="9">
              <a:extLst>
                <a:ext uri="{FF2B5EF4-FFF2-40B4-BE49-F238E27FC236}">
                  <a16:creationId xmlns:a16="http://schemas.microsoft.com/office/drawing/2014/main" id="{4EFE94FC-E03C-4A2B-AE41-D7367C1263D7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292" name="9">
            <a:extLst>
              <a:ext uri="{FF2B5EF4-FFF2-40B4-BE49-F238E27FC236}">
                <a16:creationId xmlns:a16="http://schemas.microsoft.com/office/drawing/2014/main" id="{3205A897-4D7A-47F9-A540-BBA9A3BDC034}"/>
              </a:ext>
            </a:extLst>
          </p:cNvPr>
          <p:cNvSpPr txBox="1"/>
          <p:nvPr/>
        </p:nvSpPr>
        <p:spPr>
          <a:xfrm>
            <a:off x="22005968" y="85685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293" name="9">
            <a:extLst>
              <a:ext uri="{FF2B5EF4-FFF2-40B4-BE49-F238E27FC236}">
                <a16:creationId xmlns:a16="http://schemas.microsoft.com/office/drawing/2014/main" id="{26EC993B-2CF3-4A51-8764-9711C55AA6A3}"/>
              </a:ext>
            </a:extLst>
          </p:cNvPr>
          <p:cNvSpPr txBox="1"/>
          <p:nvPr/>
        </p:nvSpPr>
        <p:spPr>
          <a:xfrm>
            <a:off x="13730102" y="74288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294" name="9">
            <a:extLst>
              <a:ext uri="{FF2B5EF4-FFF2-40B4-BE49-F238E27FC236}">
                <a16:creationId xmlns:a16="http://schemas.microsoft.com/office/drawing/2014/main" id="{ED73ABCC-44E0-424A-AE2D-A8A9AA2F37E5}"/>
              </a:ext>
            </a:extLst>
          </p:cNvPr>
          <p:cNvSpPr txBox="1"/>
          <p:nvPr/>
        </p:nvSpPr>
        <p:spPr>
          <a:xfrm>
            <a:off x="13730102" y="65627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295" name="9">
            <a:extLst>
              <a:ext uri="{FF2B5EF4-FFF2-40B4-BE49-F238E27FC236}">
                <a16:creationId xmlns:a16="http://schemas.microsoft.com/office/drawing/2014/main" id="{CC3AC577-2518-4B47-91FD-C15BD321B34B}"/>
              </a:ext>
            </a:extLst>
          </p:cNvPr>
          <p:cNvSpPr txBox="1"/>
          <p:nvPr/>
        </p:nvSpPr>
        <p:spPr>
          <a:xfrm>
            <a:off x="13756132" y="56290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296" name="9">
            <a:extLst>
              <a:ext uri="{FF2B5EF4-FFF2-40B4-BE49-F238E27FC236}">
                <a16:creationId xmlns:a16="http://schemas.microsoft.com/office/drawing/2014/main" id="{9A2A1C4B-0529-4056-9A11-B7D99B49FDAF}"/>
              </a:ext>
            </a:extLst>
          </p:cNvPr>
          <p:cNvSpPr txBox="1"/>
          <p:nvPr/>
        </p:nvSpPr>
        <p:spPr>
          <a:xfrm>
            <a:off x="13756132" y="47623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297" name="Table 296">
            <a:extLst>
              <a:ext uri="{FF2B5EF4-FFF2-40B4-BE49-F238E27FC236}">
                <a16:creationId xmlns:a16="http://schemas.microsoft.com/office/drawing/2014/main" id="{BFA84DC1-3678-4657-9975-8909101340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47543"/>
              </p:ext>
            </p:extLst>
          </p:nvPr>
        </p:nvGraphicFramePr>
        <p:xfrm>
          <a:off x="17447836" y="8969078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298" name="9">
            <a:extLst>
              <a:ext uri="{FF2B5EF4-FFF2-40B4-BE49-F238E27FC236}">
                <a16:creationId xmlns:a16="http://schemas.microsoft.com/office/drawing/2014/main" id="{DAD46016-E1F6-4F0F-A3A5-A508C39C3D38}"/>
              </a:ext>
            </a:extLst>
          </p:cNvPr>
          <p:cNvSpPr txBox="1"/>
          <p:nvPr/>
        </p:nvSpPr>
        <p:spPr>
          <a:xfrm>
            <a:off x="17265182" y="90336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99" name="9">
            <a:extLst>
              <a:ext uri="{FF2B5EF4-FFF2-40B4-BE49-F238E27FC236}">
                <a16:creationId xmlns:a16="http://schemas.microsoft.com/office/drawing/2014/main" id="{730AEE0B-8167-4CA8-A3BD-E2A864ED2018}"/>
              </a:ext>
            </a:extLst>
          </p:cNvPr>
          <p:cNvSpPr txBox="1"/>
          <p:nvPr/>
        </p:nvSpPr>
        <p:spPr>
          <a:xfrm>
            <a:off x="17265182" y="93295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00" name="9">
            <a:extLst>
              <a:ext uri="{FF2B5EF4-FFF2-40B4-BE49-F238E27FC236}">
                <a16:creationId xmlns:a16="http://schemas.microsoft.com/office/drawing/2014/main" id="{6EE6CCFD-906F-4E41-A41C-E0B6684DE66B}"/>
              </a:ext>
            </a:extLst>
          </p:cNvPr>
          <p:cNvSpPr txBox="1"/>
          <p:nvPr/>
        </p:nvSpPr>
        <p:spPr>
          <a:xfrm>
            <a:off x="17265182" y="96340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01" name="9">
            <a:extLst>
              <a:ext uri="{FF2B5EF4-FFF2-40B4-BE49-F238E27FC236}">
                <a16:creationId xmlns:a16="http://schemas.microsoft.com/office/drawing/2014/main" id="{FE97C5CC-2BEA-4667-834C-2142FF016012}"/>
              </a:ext>
            </a:extLst>
          </p:cNvPr>
          <p:cNvSpPr txBox="1"/>
          <p:nvPr/>
        </p:nvSpPr>
        <p:spPr>
          <a:xfrm>
            <a:off x="23059136" y="8574547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grpSp>
        <p:nvGrpSpPr>
          <p:cNvPr id="302" name="Gruppieren 32">
            <a:extLst>
              <a:ext uri="{FF2B5EF4-FFF2-40B4-BE49-F238E27FC236}">
                <a16:creationId xmlns:a16="http://schemas.microsoft.com/office/drawing/2014/main" id="{28322962-D46B-4E44-B106-DE8FE73ECA5F}"/>
              </a:ext>
            </a:extLst>
          </p:cNvPr>
          <p:cNvGrpSpPr>
            <a:grpSpLocks noChangeAspect="1"/>
          </p:cNvGrpSpPr>
          <p:nvPr/>
        </p:nvGrpSpPr>
        <p:grpSpPr>
          <a:xfrm>
            <a:off x="21520616" y="4104885"/>
            <a:ext cx="1871197" cy="641433"/>
            <a:chOff x="543123" y="1292927"/>
            <a:chExt cx="4309574" cy="825882"/>
          </a:xfrm>
        </p:grpSpPr>
        <p:pic>
          <p:nvPicPr>
            <p:cNvPr id="30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73846F7-39B9-4082-A017-6AA26DE97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304" name="Rectangle">
              <a:extLst>
                <a:ext uri="{FF2B5EF4-FFF2-40B4-BE49-F238E27FC236}">
                  <a16:creationId xmlns:a16="http://schemas.microsoft.com/office/drawing/2014/main" id="{B1726428-39A4-4C0C-89CC-A71DF8E82DED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305" name="All">
              <a:extLst>
                <a:ext uri="{FF2B5EF4-FFF2-40B4-BE49-F238E27FC236}">
                  <a16:creationId xmlns:a16="http://schemas.microsoft.com/office/drawing/2014/main" id="{172EEDF1-BDCB-4DE7-B4DA-98F799F146AD}"/>
                </a:ext>
              </a:extLst>
            </p:cNvPr>
            <p:cNvSpPr txBox="1"/>
            <p:nvPr/>
          </p:nvSpPr>
          <p:spPr>
            <a:xfrm>
              <a:off x="599743" y="1398681"/>
              <a:ext cx="333471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ot cumulative</a:t>
              </a:r>
              <a:endParaRPr/>
            </a:p>
          </p:txBody>
        </p:sp>
      </p:grp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595FCA6-BE93-4994-9598-A0E94B61B56F}"/>
              </a:ext>
            </a:extLst>
          </p:cNvPr>
          <p:cNvSpPr/>
          <p:nvPr/>
        </p:nvSpPr>
        <p:spPr>
          <a:xfrm>
            <a:off x="21318644" y="3917117"/>
            <a:ext cx="2424205" cy="882797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45EF1862-F5AF-4045-8AB9-97C3A28A4ADE}"/>
              </a:ext>
            </a:extLst>
          </p:cNvPr>
          <p:cNvSpPr txBox="1"/>
          <p:nvPr/>
        </p:nvSpPr>
        <p:spPr>
          <a:xfrm>
            <a:off x="12440152" y="4107606"/>
            <a:ext cx="8786132" cy="471924"/>
          </a:xfrm>
          <a:prstGeom prst="rect">
            <a:avLst/>
          </a:prstGeom>
          <a:noFill/>
          <a:ln w="28575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b="0" i="0">
                <a:solidFill>
                  <a:srgbClr val="172B4D"/>
                </a:solidFill>
                <a:effectLst/>
                <a:latin typeface="-apple-system"/>
              </a:rPr>
              <a:t>Net Growth on yearly basis as well as on cumulative basis</a:t>
            </a:r>
            <a:endParaRPr kumimoji="0" lang="de-DE" sz="2400" b="1" i="0" u="none" strike="no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80318381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>
                <a:cs typeface="Arial"/>
              </a:rPr>
              <a:t>Exposure &amp; Accumulation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C1F605B0-FD6C-8B11-A200-CB7F6B682143}"/>
              </a:ext>
            </a:extLst>
          </p:cNvPr>
          <p:cNvSpPr txBox="1">
            <a:spLocks/>
          </p:cNvSpPr>
          <p:nvPr/>
        </p:nvSpPr>
        <p:spPr>
          <a:xfrm>
            <a:off x="3000450" y="4516321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9600" b="0">
                <a:cs typeface="Arial"/>
              </a:rPr>
              <a:t>Mockups</a:t>
            </a:r>
          </a:p>
        </p:txBody>
      </p:sp>
    </p:spTree>
    <p:extLst>
      <p:ext uri="{BB962C8B-B14F-4D97-AF65-F5344CB8AC3E}">
        <p14:creationId xmlns:p14="http://schemas.microsoft.com/office/powerpoint/2010/main" val="1486284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770D91-C1D8-476C-92B0-7AF1F43607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47812AB-D611-44A6-BEB4-9A2E63AAECC4}"/>
              </a:ext>
            </a:extLst>
          </p:cNvPr>
          <p:cNvSpPr txBox="1">
            <a:spLocks/>
          </p:cNvSpPr>
          <p:nvPr/>
        </p:nvSpPr>
        <p:spPr>
          <a:xfrm>
            <a:off x="1788061" y="2072640"/>
            <a:ext cx="20015299" cy="109593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ts val="600"/>
              </a:spcBef>
              <a:spcAft>
                <a:spcPts val="2400"/>
              </a:spcAft>
            </a:pPr>
            <a:r>
              <a:rPr lang="en-US" sz="5400" b="0">
                <a:solidFill>
                  <a:schemeClr val="bg2"/>
                </a:solidFill>
                <a:cs typeface="Arial"/>
              </a:rPr>
              <a:t>2a. What has happened since then - overview</a:t>
            </a:r>
            <a:endParaRPr lang="en-US" sz="4800" b="0">
              <a:solidFill>
                <a:schemeClr val="bg2"/>
              </a:solidFill>
              <a:cs typeface="Arial"/>
            </a:endParaRP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4800" b="0">
                <a:solidFill>
                  <a:schemeClr val="bg2"/>
                </a:solidFill>
                <a:cs typeface="Arial"/>
              </a:rPr>
              <a:t>Since last we met, the Data team has:</a:t>
            </a:r>
          </a:p>
          <a:p>
            <a:pPr marL="914400" indent="-9144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Analysed the AGCS dashboards to determine what attributes are available within the existing data-set</a:t>
            </a:r>
            <a:endParaRPr lang="en-US" sz="4800" b="0">
              <a:cs typeface="Arial"/>
              <a:hlinkClick r:id="rId3"/>
            </a:endParaRPr>
          </a:p>
          <a:p>
            <a:pPr marL="914400" indent="-9144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Co-ordinated the development of an ‘MVP’ dashboard for demo and OE onboarding/UAT purposes </a:t>
            </a:r>
          </a:p>
          <a:p>
            <a:pPr marL="914400" indent="-914400">
              <a:spcBef>
                <a:spcPts val="60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Worked with GDA team to refine requirements for foundation release</a:t>
            </a:r>
          </a:p>
          <a:p>
            <a:pPr marL="914400" indent="-9144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</a:pPr>
            <a:r>
              <a:rPr lang="en-US" sz="4800" b="0">
                <a:cs typeface="Arial"/>
              </a:rPr>
              <a:t>Liaised with Development teams to develop overall solution design for Q1 foundation release</a:t>
            </a:r>
          </a:p>
          <a:p>
            <a:pPr marL="914400" indent="-914400">
              <a:lnSpc>
                <a:spcPct val="100000"/>
              </a:lnSpc>
              <a:spcBef>
                <a:spcPts val="0"/>
              </a:spcBef>
              <a:buFont typeface="+mj-lt"/>
              <a:buAutoNum type="alphaLcParenR"/>
            </a:pPr>
            <a:r>
              <a:rPr lang="en-US" sz="4800" b="0">
                <a:cs typeface="Arial"/>
              </a:rPr>
              <a:t>Collaborated with Data Standards to define change requests for missing attributes needed for future releases</a:t>
            </a:r>
            <a:endParaRPr lang="en-US" sz="4800" b="0">
              <a:cs typeface="Arial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742950" indent="-742950">
              <a:buFont typeface="+mj-lt"/>
              <a:buAutoNum type="alphaLcParenR"/>
            </a:pPr>
            <a:endParaRPr lang="en-US" sz="4000" b="0">
              <a:cs typeface="Arial"/>
              <a:hlinkClick r:id="rId3"/>
            </a:endParaRPr>
          </a:p>
        </p:txBody>
      </p:sp>
      <p:pic>
        <p:nvPicPr>
          <p:cNvPr id="11" name="Picture 10" descr="Man watering plants">
            <a:extLst>
              <a:ext uri="{FF2B5EF4-FFF2-40B4-BE49-F238E27FC236}">
                <a16:creationId xmlns:a16="http://schemas.microsoft.com/office/drawing/2014/main" id="{9905B8DB-0B3C-4067-85C9-227634C864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110" y="1859280"/>
            <a:ext cx="3456041" cy="23063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7C35616-F53C-4EFA-A727-E2BB070FEC77}"/>
              </a:ext>
            </a:extLst>
          </p:cNvPr>
          <p:cNvSpPr txBox="1"/>
          <p:nvPr/>
        </p:nvSpPr>
        <p:spPr>
          <a:xfrm>
            <a:off x="958849" y="944880"/>
            <a:ext cx="26416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Byron</a:t>
            </a:r>
            <a:endParaRPr lang="de-DE" sz="3600">
              <a:solidFill>
                <a:srgbClr val="FAB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tangle"/>
          <p:cNvSpPr/>
          <p:nvPr/>
        </p:nvSpPr>
        <p:spPr>
          <a:xfrm>
            <a:off x="377251" y="-2534548"/>
            <a:ext cx="13227433" cy="825862"/>
          </a:xfrm>
          <a:prstGeom prst="rect">
            <a:avLst/>
          </a:prstGeom>
          <a:solidFill>
            <a:schemeClr val="accent1">
              <a:lumOff val="16847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88" name="OE Name: All"/>
          <p:cNvSpPr/>
          <p:nvPr/>
        </p:nvSpPr>
        <p:spPr>
          <a:xfrm>
            <a:off x="2811571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OE Name: All</a:t>
            </a:r>
          </a:p>
        </p:txBody>
      </p:sp>
      <p:sp>
        <p:nvSpPr>
          <p:cNvPr id="289" name="LoB: All"/>
          <p:cNvSpPr/>
          <p:nvPr/>
        </p:nvSpPr>
        <p:spPr>
          <a:xfrm>
            <a:off x="4979670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LoB: All</a:t>
            </a:r>
          </a:p>
        </p:txBody>
      </p:sp>
      <p:sp>
        <p:nvSpPr>
          <p:cNvPr id="290" name="SubLob: All"/>
          <p:cNvSpPr/>
          <p:nvPr/>
        </p:nvSpPr>
        <p:spPr>
          <a:xfrm>
            <a:off x="7147769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SubLob: All</a:t>
            </a:r>
          </a:p>
        </p:txBody>
      </p:sp>
      <p:sp>
        <p:nvSpPr>
          <p:cNvPr id="291" name="AZ_ISIC_PLUS: All"/>
          <p:cNvSpPr/>
          <p:nvPr/>
        </p:nvSpPr>
        <p:spPr>
          <a:xfrm>
            <a:off x="9312894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AZ_ISIC_PLUS: All</a:t>
            </a:r>
          </a:p>
        </p:txBody>
      </p:sp>
      <p:sp>
        <p:nvSpPr>
          <p:cNvPr id="292" name="Triangle"/>
          <p:cNvSpPr/>
          <p:nvPr/>
        </p:nvSpPr>
        <p:spPr>
          <a:xfrm rot="10800000" flipH="1">
            <a:off x="4645348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3" name="Triangle"/>
          <p:cNvSpPr/>
          <p:nvPr/>
        </p:nvSpPr>
        <p:spPr>
          <a:xfrm rot="10800000" flipH="1">
            <a:off x="6813447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4" name="Triangle"/>
          <p:cNvSpPr/>
          <p:nvPr/>
        </p:nvSpPr>
        <p:spPr>
          <a:xfrm rot="10800000" flipH="1">
            <a:off x="8981546" y="-2356929"/>
            <a:ext cx="243741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5" name="Triangle"/>
          <p:cNvSpPr/>
          <p:nvPr/>
        </p:nvSpPr>
        <p:spPr>
          <a:xfrm rot="10800000" flipH="1">
            <a:off x="11146671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6" name="&lt;Additional Filter&gt;"/>
          <p:cNvSpPr/>
          <p:nvPr/>
        </p:nvSpPr>
        <p:spPr>
          <a:xfrm>
            <a:off x="11478018" y="-2453645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&lt;Additional Filter&gt;</a:t>
            </a:r>
          </a:p>
        </p:txBody>
      </p:sp>
      <p:sp>
        <p:nvSpPr>
          <p:cNvPr id="297" name="Triangle"/>
          <p:cNvSpPr/>
          <p:nvPr/>
        </p:nvSpPr>
        <p:spPr>
          <a:xfrm rot="10800000" flipH="1">
            <a:off x="13271566" y="-2791192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8" name="Report Segment"/>
          <p:cNvSpPr txBox="1"/>
          <p:nvPr/>
        </p:nvSpPr>
        <p:spPr>
          <a:xfrm>
            <a:off x="453333" y="-2536290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Report Segment</a:t>
            </a:r>
          </a:p>
        </p:txBody>
      </p:sp>
      <p:sp>
        <p:nvSpPr>
          <p:cNvPr id="299" name="Number of Policies"/>
          <p:cNvSpPr/>
          <p:nvPr/>
        </p:nvSpPr>
        <p:spPr>
          <a:xfrm>
            <a:off x="2810084" y="-2095636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Number of Policies</a:t>
            </a:r>
          </a:p>
        </p:txBody>
      </p:sp>
      <p:sp>
        <p:nvSpPr>
          <p:cNvPr id="300" name="Triangle"/>
          <p:cNvSpPr/>
          <p:nvPr/>
        </p:nvSpPr>
        <p:spPr>
          <a:xfrm rot="10800000" flipH="1">
            <a:off x="4643861" y="-1995038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301" name="KPIs"/>
          <p:cNvSpPr txBox="1"/>
          <p:nvPr/>
        </p:nvSpPr>
        <p:spPr>
          <a:xfrm>
            <a:off x="447384" y="-2179723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KPIs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091512C-E6C5-C574-C749-8D969A3B7ACC}"/>
              </a:ext>
            </a:extLst>
          </p:cNvPr>
          <p:cNvSpPr/>
          <p:nvPr/>
        </p:nvSpPr>
        <p:spPr>
          <a:xfrm>
            <a:off x="1026000" y="3184228"/>
            <a:ext cx="10087305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0" name="Risk Hazard Group">
            <a:extLst>
              <a:ext uri="{FF2B5EF4-FFF2-40B4-BE49-F238E27FC236}">
                <a16:creationId xmlns:a16="http://schemas.microsoft.com/office/drawing/2014/main" id="{30ED3B2C-4A89-DDCA-2C80-73B12CCE4435}"/>
              </a:ext>
            </a:extLst>
          </p:cNvPr>
          <p:cNvSpPr txBox="1"/>
          <p:nvPr/>
        </p:nvSpPr>
        <p:spPr>
          <a:xfrm>
            <a:off x="1115637" y="3315873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PROPERTY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Insured</a:t>
            </a:r>
            <a:r>
              <a:rPr lang="de-DE"/>
              <a:t> Distribution</a:t>
            </a:r>
            <a:endParaRPr/>
          </a:p>
        </p:txBody>
      </p:sp>
      <p:sp>
        <p:nvSpPr>
          <p:cNvPr id="260" name="9">
            <a:extLst>
              <a:ext uri="{FF2B5EF4-FFF2-40B4-BE49-F238E27FC236}">
                <a16:creationId xmlns:a16="http://schemas.microsoft.com/office/drawing/2014/main" id="{6A90E5D3-5A39-E612-A679-3643B91A6F70}"/>
              </a:ext>
            </a:extLst>
          </p:cNvPr>
          <p:cNvSpPr txBox="1"/>
          <p:nvPr/>
        </p:nvSpPr>
        <p:spPr>
          <a:xfrm>
            <a:off x="1816440" y="4494911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63" name="9">
            <a:extLst>
              <a:ext uri="{FF2B5EF4-FFF2-40B4-BE49-F238E27FC236}">
                <a16:creationId xmlns:a16="http://schemas.microsoft.com/office/drawing/2014/main" id="{2C21EAF1-BEC4-42F3-35F4-E0B87F819CCC}"/>
              </a:ext>
            </a:extLst>
          </p:cNvPr>
          <p:cNvSpPr txBox="1"/>
          <p:nvPr/>
        </p:nvSpPr>
        <p:spPr>
          <a:xfrm>
            <a:off x="8544424" y="8433264"/>
            <a:ext cx="1468470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Avg</a:t>
            </a:r>
            <a:r>
              <a:rPr lang="de-DE"/>
              <a:t> TSI</a:t>
            </a:r>
          </a:p>
          <a:p>
            <a:r>
              <a:rPr lang="de-DE"/>
              <a:t>Property only</a:t>
            </a:r>
            <a:endParaRPr/>
          </a:p>
        </p:txBody>
      </p:sp>
      <p:sp>
        <p:nvSpPr>
          <p:cNvPr id="264" name="9">
            <a:extLst>
              <a:ext uri="{FF2B5EF4-FFF2-40B4-BE49-F238E27FC236}">
                <a16:creationId xmlns:a16="http://schemas.microsoft.com/office/drawing/2014/main" id="{F0DA83F2-D9E6-728A-451B-1E9825E8760A}"/>
              </a:ext>
            </a:extLst>
          </p:cNvPr>
          <p:cNvSpPr txBox="1"/>
          <p:nvPr/>
        </p:nvSpPr>
        <p:spPr>
          <a:xfrm>
            <a:off x="2222907" y="3938914"/>
            <a:ext cx="1019475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Industry Cluster</a:t>
            </a:r>
            <a:endParaRPr/>
          </a:p>
        </p:txBody>
      </p:sp>
      <p:grpSp>
        <p:nvGrpSpPr>
          <p:cNvPr id="346" name="Gruppieren 345">
            <a:extLst>
              <a:ext uri="{FF2B5EF4-FFF2-40B4-BE49-F238E27FC236}">
                <a16:creationId xmlns:a16="http://schemas.microsoft.com/office/drawing/2014/main" id="{25970EB7-AF02-434A-8B53-CD53855ECCA8}"/>
              </a:ext>
            </a:extLst>
          </p:cNvPr>
          <p:cNvGrpSpPr/>
          <p:nvPr/>
        </p:nvGrpSpPr>
        <p:grpSpPr>
          <a:xfrm>
            <a:off x="3505270" y="4652530"/>
            <a:ext cx="4971601" cy="3653016"/>
            <a:chOff x="4643856" y="4329515"/>
            <a:chExt cx="4971601" cy="3653016"/>
          </a:xfrm>
        </p:grpSpPr>
        <p:sp>
          <p:nvSpPr>
            <p:cNvPr id="266" name="9">
              <a:extLst>
                <a:ext uri="{FF2B5EF4-FFF2-40B4-BE49-F238E27FC236}">
                  <a16:creationId xmlns:a16="http://schemas.microsoft.com/office/drawing/2014/main" id="{33564E5D-2C51-908A-991D-A0EDF79BC5E9}"/>
                </a:ext>
              </a:extLst>
            </p:cNvPr>
            <p:cNvSpPr txBox="1"/>
            <p:nvPr/>
          </p:nvSpPr>
          <p:spPr>
            <a:xfrm>
              <a:off x="4643856" y="7647731"/>
              <a:ext cx="676800" cy="334800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7" name="9">
              <a:extLst>
                <a:ext uri="{FF2B5EF4-FFF2-40B4-BE49-F238E27FC236}">
                  <a16:creationId xmlns:a16="http://schemas.microsoft.com/office/drawing/2014/main" id="{BAF68316-A3F8-64E9-DAFB-C7AD1746561D}"/>
                </a:ext>
              </a:extLst>
            </p:cNvPr>
            <p:cNvSpPr txBox="1"/>
            <p:nvPr/>
          </p:nvSpPr>
          <p:spPr>
            <a:xfrm>
              <a:off x="4643857" y="5988623"/>
              <a:ext cx="2332800" cy="334800"/>
            </a:xfrm>
            <a:prstGeom prst="rect">
              <a:avLst/>
            </a:prstGeom>
            <a:solidFill>
              <a:srgbClr val="047D8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8" name="9">
              <a:extLst>
                <a:ext uri="{FF2B5EF4-FFF2-40B4-BE49-F238E27FC236}">
                  <a16:creationId xmlns:a16="http://schemas.microsoft.com/office/drawing/2014/main" id="{C8F33477-0BF9-1CD3-1440-C6A7641B551F}"/>
                </a:ext>
              </a:extLst>
            </p:cNvPr>
            <p:cNvSpPr txBox="1"/>
            <p:nvPr/>
          </p:nvSpPr>
          <p:spPr>
            <a:xfrm>
              <a:off x="4643857" y="5573846"/>
              <a:ext cx="2584800" cy="334800"/>
            </a:xfrm>
            <a:prstGeom prst="rect">
              <a:avLst/>
            </a:prstGeom>
            <a:solidFill>
              <a:srgbClr val="C0DDBD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69" name="9">
              <a:extLst>
                <a:ext uri="{FF2B5EF4-FFF2-40B4-BE49-F238E27FC236}">
                  <a16:creationId xmlns:a16="http://schemas.microsoft.com/office/drawing/2014/main" id="{CCB2DF28-25D4-DD43-60D3-F826468310F2}"/>
                </a:ext>
              </a:extLst>
            </p:cNvPr>
            <p:cNvSpPr txBox="1"/>
            <p:nvPr/>
          </p:nvSpPr>
          <p:spPr>
            <a:xfrm>
              <a:off x="4643857" y="5159069"/>
              <a:ext cx="3949200" cy="334800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0" name="9">
              <a:extLst>
                <a:ext uri="{FF2B5EF4-FFF2-40B4-BE49-F238E27FC236}">
                  <a16:creationId xmlns:a16="http://schemas.microsoft.com/office/drawing/2014/main" id="{3C67FA4A-E7B0-C795-94C5-C2562BEE7CFD}"/>
                </a:ext>
              </a:extLst>
            </p:cNvPr>
            <p:cNvSpPr txBox="1"/>
            <p:nvPr/>
          </p:nvSpPr>
          <p:spPr>
            <a:xfrm>
              <a:off x="4643857" y="4744292"/>
              <a:ext cx="4593600" cy="334800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1" name="9">
              <a:extLst>
                <a:ext uri="{FF2B5EF4-FFF2-40B4-BE49-F238E27FC236}">
                  <a16:creationId xmlns:a16="http://schemas.microsoft.com/office/drawing/2014/main" id="{DC53F842-AEC7-ED7E-8910-CF4F01D9F041}"/>
                </a:ext>
              </a:extLst>
            </p:cNvPr>
            <p:cNvSpPr txBox="1"/>
            <p:nvPr/>
          </p:nvSpPr>
          <p:spPr>
            <a:xfrm>
              <a:off x="4643857" y="4329515"/>
              <a:ext cx="4971600" cy="334800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2" name="9">
              <a:extLst>
                <a:ext uri="{FF2B5EF4-FFF2-40B4-BE49-F238E27FC236}">
                  <a16:creationId xmlns:a16="http://schemas.microsoft.com/office/drawing/2014/main" id="{CF072F0D-71FE-855D-A197-169530BD24BE}"/>
                </a:ext>
              </a:extLst>
            </p:cNvPr>
            <p:cNvSpPr txBox="1"/>
            <p:nvPr/>
          </p:nvSpPr>
          <p:spPr>
            <a:xfrm>
              <a:off x="4643856" y="6403400"/>
              <a:ext cx="2145600" cy="334800"/>
            </a:xfrm>
            <a:prstGeom prst="rect">
              <a:avLst/>
            </a:prstGeom>
            <a:solidFill>
              <a:srgbClr val="5A5260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3" name="9">
              <a:extLst>
                <a:ext uri="{FF2B5EF4-FFF2-40B4-BE49-F238E27FC236}">
                  <a16:creationId xmlns:a16="http://schemas.microsoft.com/office/drawing/2014/main" id="{CFDC214E-9DDD-1F24-A0D1-E3D97025FFF8}"/>
                </a:ext>
              </a:extLst>
            </p:cNvPr>
            <p:cNvSpPr txBox="1"/>
            <p:nvPr/>
          </p:nvSpPr>
          <p:spPr>
            <a:xfrm>
              <a:off x="4643856" y="6818177"/>
              <a:ext cx="1332000" cy="334800"/>
            </a:xfrm>
            <a:prstGeom prst="rect">
              <a:avLst/>
            </a:prstGeom>
            <a:solidFill>
              <a:srgbClr val="3CA555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74" name="9">
              <a:extLst>
                <a:ext uri="{FF2B5EF4-FFF2-40B4-BE49-F238E27FC236}">
                  <a16:creationId xmlns:a16="http://schemas.microsoft.com/office/drawing/2014/main" id="{9F13ED38-378A-52FF-67CF-037634D63AD8}"/>
                </a:ext>
              </a:extLst>
            </p:cNvPr>
            <p:cNvSpPr txBox="1"/>
            <p:nvPr/>
          </p:nvSpPr>
          <p:spPr>
            <a:xfrm>
              <a:off x="4643856" y="7232954"/>
              <a:ext cx="1134000" cy="334800"/>
            </a:xfrm>
            <a:prstGeom prst="rect">
              <a:avLst/>
            </a:prstGeom>
            <a:solidFill>
              <a:srgbClr val="F86200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348" name="Gerade Verbindung 347">
            <a:extLst>
              <a:ext uri="{FF2B5EF4-FFF2-40B4-BE49-F238E27FC236}">
                <a16:creationId xmlns:a16="http://schemas.microsoft.com/office/drawing/2014/main" id="{08AEFEDF-4967-F081-7618-E5A1907FB914}"/>
              </a:ext>
            </a:extLst>
          </p:cNvPr>
          <p:cNvCxnSpPr/>
          <p:nvPr/>
        </p:nvCxnSpPr>
        <p:spPr>
          <a:xfrm>
            <a:off x="3400765" y="4494911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45E6B135-FEC1-B71E-89E8-594B877714DA}"/>
              </a:ext>
            </a:extLst>
          </p:cNvPr>
          <p:cNvCxnSpPr/>
          <p:nvPr/>
        </p:nvCxnSpPr>
        <p:spPr>
          <a:xfrm>
            <a:off x="3400765" y="8433264"/>
            <a:ext cx="5425546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5" name="Rechteck 354">
            <a:extLst>
              <a:ext uri="{FF2B5EF4-FFF2-40B4-BE49-F238E27FC236}">
                <a16:creationId xmlns:a16="http://schemas.microsoft.com/office/drawing/2014/main" id="{2BAFEFC3-733D-0BE9-49A8-762D8A895567}"/>
              </a:ext>
            </a:extLst>
          </p:cNvPr>
          <p:cNvSpPr/>
          <p:nvPr/>
        </p:nvSpPr>
        <p:spPr>
          <a:xfrm>
            <a:off x="1026001" y="3184228"/>
            <a:ext cx="10087306" cy="6245286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74" name="Rechteck 373">
            <a:extLst>
              <a:ext uri="{FF2B5EF4-FFF2-40B4-BE49-F238E27FC236}">
                <a16:creationId xmlns:a16="http://schemas.microsoft.com/office/drawing/2014/main" id="{F0C15BED-4049-9E43-8B81-39F45D86C4FE}"/>
              </a:ext>
            </a:extLst>
          </p:cNvPr>
          <p:cNvSpPr/>
          <p:nvPr/>
        </p:nvSpPr>
        <p:spPr>
          <a:xfrm>
            <a:off x="13014459" y="3184228"/>
            <a:ext cx="10087305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75" name="Risk Hazard Group">
            <a:extLst>
              <a:ext uri="{FF2B5EF4-FFF2-40B4-BE49-F238E27FC236}">
                <a16:creationId xmlns:a16="http://schemas.microsoft.com/office/drawing/2014/main" id="{5EA9A390-2234-EF73-5B53-698CF2063191}"/>
              </a:ext>
            </a:extLst>
          </p:cNvPr>
          <p:cNvSpPr txBox="1"/>
          <p:nvPr/>
        </p:nvSpPr>
        <p:spPr>
          <a:xfrm>
            <a:off x="13104096" y="3309892"/>
            <a:ext cx="34970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LIABILITY Gross Limit Distribution</a:t>
            </a:r>
            <a:endParaRPr/>
          </a:p>
        </p:txBody>
      </p:sp>
      <p:sp>
        <p:nvSpPr>
          <p:cNvPr id="376" name="9">
            <a:extLst>
              <a:ext uri="{FF2B5EF4-FFF2-40B4-BE49-F238E27FC236}">
                <a16:creationId xmlns:a16="http://schemas.microsoft.com/office/drawing/2014/main" id="{7778921C-8B26-03AB-A694-AD38EB5953FC}"/>
              </a:ext>
            </a:extLst>
          </p:cNvPr>
          <p:cNvSpPr txBox="1"/>
          <p:nvPr/>
        </p:nvSpPr>
        <p:spPr>
          <a:xfrm>
            <a:off x="13804899" y="4494911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77" name="9">
            <a:extLst>
              <a:ext uri="{FF2B5EF4-FFF2-40B4-BE49-F238E27FC236}">
                <a16:creationId xmlns:a16="http://schemas.microsoft.com/office/drawing/2014/main" id="{68F06C69-2FA5-5EE9-EDF2-DA7055B4AE10}"/>
              </a:ext>
            </a:extLst>
          </p:cNvPr>
          <p:cNvSpPr txBox="1"/>
          <p:nvPr/>
        </p:nvSpPr>
        <p:spPr>
          <a:xfrm>
            <a:off x="20195482" y="8433264"/>
            <a:ext cx="1805871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Avg</a:t>
            </a:r>
            <a:r>
              <a:rPr lang="de-DE"/>
              <a:t> Gross Limit</a:t>
            </a:r>
          </a:p>
          <a:p>
            <a:r>
              <a:rPr lang="de-DE" err="1"/>
              <a:t>LIliability</a:t>
            </a:r>
            <a:r>
              <a:rPr lang="de-DE"/>
              <a:t> only</a:t>
            </a:r>
            <a:endParaRPr/>
          </a:p>
        </p:txBody>
      </p:sp>
      <p:sp>
        <p:nvSpPr>
          <p:cNvPr id="378" name="9">
            <a:extLst>
              <a:ext uri="{FF2B5EF4-FFF2-40B4-BE49-F238E27FC236}">
                <a16:creationId xmlns:a16="http://schemas.microsoft.com/office/drawing/2014/main" id="{52BCDB58-765A-4705-CEE8-BE7ACE068F7D}"/>
              </a:ext>
            </a:extLst>
          </p:cNvPr>
          <p:cNvSpPr txBox="1"/>
          <p:nvPr/>
        </p:nvSpPr>
        <p:spPr>
          <a:xfrm>
            <a:off x="14211366" y="3938914"/>
            <a:ext cx="1019475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Industry Cluster</a:t>
            </a:r>
            <a:endParaRPr/>
          </a:p>
        </p:txBody>
      </p:sp>
      <p:cxnSp>
        <p:nvCxnSpPr>
          <p:cNvPr id="389" name="Gerade Verbindung 388">
            <a:extLst>
              <a:ext uri="{FF2B5EF4-FFF2-40B4-BE49-F238E27FC236}">
                <a16:creationId xmlns:a16="http://schemas.microsoft.com/office/drawing/2014/main" id="{863DE50E-7B03-2885-8F92-3F659EFFBA1B}"/>
              </a:ext>
            </a:extLst>
          </p:cNvPr>
          <p:cNvCxnSpPr/>
          <p:nvPr/>
        </p:nvCxnSpPr>
        <p:spPr>
          <a:xfrm>
            <a:off x="15389224" y="4494911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Gerade Verbindung mit Pfeil 389">
            <a:extLst>
              <a:ext uri="{FF2B5EF4-FFF2-40B4-BE49-F238E27FC236}">
                <a16:creationId xmlns:a16="http://schemas.microsoft.com/office/drawing/2014/main" id="{764EC793-C4E3-9C6A-98DD-AA22A8511BBE}"/>
              </a:ext>
            </a:extLst>
          </p:cNvPr>
          <p:cNvCxnSpPr/>
          <p:nvPr/>
        </p:nvCxnSpPr>
        <p:spPr>
          <a:xfrm>
            <a:off x="15389224" y="8433264"/>
            <a:ext cx="5425546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1" name="Rechteck 390">
            <a:extLst>
              <a:ext uri="{FF2B5EF4-FFF2-40B4-BE49-F238E27FC236}">
                <a16:creationId xmlns:a16="http://schemas.microsoft.com/office/drawing/2014/main" id="{B8FCFA21-0B0C-8C39-6315-85AF82987C21}"/>
              </a:ext>
            </a:extLst>
          </p:cNvPr>
          <p:cNvSpPr/>
          <p:nvPr/>
        </p:nvSpPr>
        <p:spPr>
          <a:xfrm>
            <a:off x="13014460" y="3184228"/>
            <a:ext cx="10087306" cy="6245286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C1ACC0D-BD7F-90D3-9028-2CF916D8A455}"/>
              </a:ext>
            </a:extLst>
          </p:cNvPr>
          <p:cNvGrpSpPr/>
          <p:nvPr/>
        </p:nvGrpSpPr>
        <p:grpSpPr>
          <a:xfrm>
            <a:off x="7276420" y="4720190"/>
            <a:ext cx="2016000" cy="193774"/>
            <a:chOff x="6241348" y="11027664"/>
            <a:chExt cx="2740198" cy="150096"/>
          </a:xfrm>
        </p:grpSpPr>
        <p:cxnSp>
          <p:nvCxnSpPr>
            <p:cNvPr id="13" name="Gerade Verbindung 12">
              <a:extLst>
                <a:ext uri="{FF2B5EF4-FFF2-40B4-BE49-F238E27FC236}">
                  <a16:creationId xmlns:a16="http://schemas.microsoft.com/office/drawing/2014/main" id="{0EED78B5-E885-69C0-3D9D-2A67489E4ED5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" name="Gerade Verbindung 33">
              <a:extLst>
                <a:ext uri="{FF2B5EF4-FFF2-40B4-BE49-F238E27FC236}">
                  <a16:creationId xmlns:a16="http://schemas.microsoft.com/office/drawing/2014/main" id="{2DAB9527-CA1A-A32F-37A7-FF135DBEED3D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5" name="Gerade Verbindung 34">
              <a:extLst>
                <a:ext uri="{FF2B5EF4-FFF2-40B4-BE49-F238E27FC236}">
                  <a16:creationId xmlns:a16="http://schemas.microsoft.com/office/drawing/2014/main" id="{62D7AF8A-246D-13FC-A5CE-29D6C685070B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2ABEAAD-83D9-EF8F-05C6-354F192408D8}"/>
              </a:ext>
            </a:extLst>
          </p:cNvPr>
          <p:cNvGrpSpPr/>
          <p:nvPr/>
        </p:nvGrpSpPr>
        <p:grpSpPr>
          <a:xfrm>
            <a:off x="6932180" y="5129989"/>
            <a:ext cx="3650733" cy="198408"/>
            <a:chOff x="6241348" y="11027664"/>
            <a:chExt cx="2740198" cy="150096"/>
          </a:xfrm>
        </p:grpSpPr>
        <p:cxnSp>
          <p:nvCxnSpPr>
            <p:cNvPr id="39" name="Gerade Verbindung 38">
              <a:extLst>
                <a:ext uri="{FF2B5EF4-FFF2-40B4-BE49-F238E27FC236}">
                  <a16:creationId xmlns:a16="http://schemas.microsoft.com/office/drawing/2014/main" id="{CDDB46E7-873F-E2AB-1D11-4965F6D2E222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0" name="Gerade Verbindung 39">
              <a:extLst>
                <a:ext uri="{FF2B5EF4-FFF2-40B4-BE49-F238E27FC236}">
                  <a16:creationId xmlns:a16="http://schemas.microsoft.com/office/drawing/2014/main" id="{8966CA72-21A9-7FF0-DA76-871C1801385E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82040935-BF3B-BF0E-4AF5-C3A72D488F7E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219A42A5-6224-8158-670E-3863B419F05F}"/>
              </a:ext>
            </a:extLst>
          </p:cNvPr>
          <p:cNvGrpSpPr/>
          <p:nvPr/>
        </p:nvGrpSpPr>
        <p:grpSpPr>
          <a:xfrm>
            <a:off x="6804164" y="5559609"/>
            <a:ext cx="1207179" cy="199665"/>
            <a:chOff x="6241348" y="11027664"/>
            <a:chExt cx="2740198" cy="150096"/>
          </a:xfrm>
        </p:grpSpPr>
        <p:cxnSp>
          <p:nvCxnSpPr>
            <p:cNvPr id="43" name="Gerade Verbindung 42">
              <a:extLst>
                <a:ext uri="{FF2B5EF4-FFF2-40B4-BE49-F238E27FC236}">
                  <a16:creationId xmlns:a16="http://schemas.microsoft.com/office/drawing/2014/main" id="{5D7E495C-8075-3C6B-C362-9B949A568409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4" name="Gerade Verbindung 43">
              <a:extLst>
                <a:ext uri="{FF2B5EF4-FFF2-40B4-BE49-F238E27FC236}">
                  <a16:creationId xmlns:a16="http://schemas.microsoft.com/office/drawing/2014/main" id="{BB51FE89-B6BB-8534-21E2-9C50F55F9E40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5" name="Gerade Verbindung 44">
              <a:extLst>
                <a:ext uri="{FF2B5EF4-FFF2-40B4-BE49-F238E27FC236}">
                  <a16:creationId xmlns:a16="http://schemas.microsoft.com/office/drawing/2014/main" id="{E1C9FF34-70FA-F839-4363-E6FA663ABB2F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CBB39D45-7F2A-EACA-5F99-14E326E336A6}"/>
              </a:ext>
            </a:extLst>
          </p:cNvPr>
          <p:cNvGrpSpPr/>
          <p:nvPr/>
        </p:nvGrpSpPr>
        <p:grpSpPr>
          <a:xfrm>
            <a:off x="5234481" y="5969136"/>
            <a:ext cx="1207179" cy="199665"/>
            <a:chOff x="6241348" y="11027664"/>
            <a:chExt cx="2740198" cy="150096"/>
          </a:xfrm>
        </p:grpSpPr>
        <p:cxnSp>
          <p:nvCxnSpPr>
            <p:cNvPr id="47" name="Gerade Verbindung 46">
              <a:extLst>
                <a:ext uri="{FF2B5EF4-FFF2-40B4-BE49-F238E27FC236}">
                  <a16:creationId xmlns:a16="http://schemas.microsoft.com/office/drawing/2014/main" id="{0D7E1A64-E8CC-04B2-6899-0718C1E009EA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E8F1E395-276E-9237-36D1-CE460126A127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9" name="Gerade Verbindung 48">
              <a:extLst>
                <a:ext uri="{FF2B5EF4-FFF2-40B4-BE49-F238E27FC236}">
                  <a16:creationId xmlns:a16="http://schemas.microsoft.com/office/drawing/2014/main" id="{4EC68FBD-D2A7-38A2-ED99-A9EFBDFC157A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6A926A7B-D8A3-A39E-0043-E67A59969C2D}"/>
              </a:ext>
            </a:extLst>
          </p:cNvPr>
          <p:cNvGrpSpPr/>
          <p:nvPr/>
        </p:nvGrpSpPr>
        <p:grpSpPr>
          <a:xfrm>
            <a:off x="5650870" y="6379206"/>
            <a:ext cx="1207179" cy="199665"/>
            <a:chOff x="6241348" y="11027664"/>
            <a:chExt cx="2740198" cy="150096"/>
          </a:xfrm>
        </p:grpSpPr>
        <p:cxnSp>
          <p:nvCxnSpPr>
            <p:cNvPr id="51" name="Gerade Verbindung 50">
              <a:extLst>
                <a:ext uri="{FF2B5EF4-FFF2-40B4-BE49-F238E27FC236}">
                  <a16:creationId xmlns:a16="http://schemas.microsoft.com/office/drawing/2014/main" id="{7177ACE9-1213-1CE2-8FB6-0EE2A568B9E0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2" name="Gerade Verbindung 51">
              <a:extLst>
                <a:ext uri="{FF2B5EF4-FFF2-40B4-BE49-F238E27FC236}">
                  <a16:creationId xmlns:a16="http://schemas.microsoft.com/office/drawing/2014/main" id="{87C3AB52-F0AD-1754-A3A1-6BFA1B72F038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3" name="Gerade Verbindung 52">
              <a:extLst>
                <a:ext uri="{FF2B5EF4-FFF2-40B4-BE49-F238E27FC236}">
                  <a16:creationId xmlns:a16="http://schemas.microsoft.com/office/drawing/2014/main" id="{239289D8-7233-789E-5246-CB7612DF8B27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D8261378-84AC-DDE6-738B-D7ECB9357E09}"/>
              </a:ext>
            </a:extLst>
          </p:cNvPr>
          <p:cNvGrpSpPr/>
          <p:nvPr/>
        </p:nvGrpSpPr>
        <p:grpSpPr>
          <a:xfrm>
            <a:off x="5402984" y="6786753"/>
            <a:ext cx="486000" cy="199665"/>
            <a:chOff x="6241348" y="11027664"/>
            <a:chExt cx="2740198" cy="150096"/>
          </a:xfrm>
        </p:grpSpPr>
        <p:cxnSp>
          <p:nvCxnSpPr>
            <p:cNvPr id="55" name="Gerade Verbindung 54">
              <a:extLst>
                <a:ext uri="{FF2B5EF4-FFF2-40B4-BE49-F238E27FC236}">
                  <a16:creationId xmlns:a16="http://schemas.microsoft.com/office/drawing/2014/main" id="{2C90F2AC-7F2E-62B2-49D7-D64897C9D932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6" name="Gerade Verbindung 55">
              <a:extLst>
                <a:ext uri="{FF2B5EF4-FFF2-40B4-BE49-F238E27FC236}">
                  <a16:creationId xmlns:a16="http://schemas.microsoft.com/office/drawing/2014/main" id="{DF2B72D4-645E-7227-C96F-6998B024EE54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7" name="Gerade Verbindung 56">
              <a:extLst>
                <a:ext uri="{FF2B5EF4-FFF2-40B4-BE49-F238E27FC236}">
                  <a16:creationId xmlns:a16="http://schemas.microsoft.com/office/drawing/2014/main" id="{FC601225-C2FA-DF3B-8B0D-FDD4DC0859BE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F286D489-A069-D103-B2F8-76A3DC898031}"/>
              </a:ext>
            </a:extLst>
          </p:cNvPr>
          <p:cNvGrpSpPr/>
          <p:nvPr/>
        </p:nvGrpSpPr>
        <p:grpSpPr>
          <a:xfrm>
            <a:off x="4584637" y="7212904"/>
            <a:ext cx="486000" cy="199665"/>
            <a:chOff x="6241348" y="11027664"/>
            <a:chExt cx="2740198" cy="150096"/>
          </a:xfrm>
        </p:grpSpPr>
        <p:cxnSp>
          <p:nvCxnSpPr>
            <p:cNvPr id="59" name="Gerade Verbindung 58">
              <a:extLst>
                <a:ext uri="{FF2B5EF4-FFF2-40B4-BE49-F238E27FC236}">
                  <a16:creationId xmlns:a16="http://schemas.microsoft.com/office/drawing/2014/main" id="{6FE47CE5-7433-A6EE-CCBB-CD15BECCA22A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1" name="Gerade Verbindung 60">
              <a:extLst>
                <a:ext uri="{FF2B5EF4-FFF2-40B4-BE49-F238E27FC236}">
                  <a16:creationId xmlns:a16="http://schemas.microsoft.com/office/drawing/2014/main" id="{7ABBDF63-2B51-4786-AFF3-5F7A932646C1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2" name="Gerade Verbindung 61">
              <a:extLst>
                <a:ext uri="{FF2B5EF4-FFF2-40B4-BE49-F238E27FC236}">
                  <a16:creationId xmlns:a16="http://schemas.microsoft.com/office/drawing/2014/main" id="{B863DBB2-BBA1-0BE8-7FAC-4D7F80AF9DFF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256" name="Gruppieren 255">
            <a:extLst>
              <a:ext uri="{FF2B5EF4-FFF2-40B4-BE49-F238E27FC236}">
                <a16:creationId xmlns:a16="http://schemas.microsoft.com/office/drawing/2014/main" id="{DE4CDABB-7ED3-CA6F-7108-98FED86508E4}"/>
              </a:ext>
            </a:extLst>
          </p:cNvPr>
          <p:cNvGrpSpPr/>
          <p:nvPr/>
        </p:nvGrpSpPr>
        <p:grpSpPr>
          <a:xfrm>
            <a:off x="4367497" y="7622692"/>
            <a:ext cx="486000" cy="199665"/>
            <a:chOff x="6241348" y="11027664"/>
            <a:chExt cx="2740198" cy="150096"/>
          </a:xfrm>
        </p:grpSpPr>
        <p:cxnSp>
          <p:nvCxnSpPr>
            <p:cNvPr id="257" name="Gerade Verbindung 256">
              <a:extLst>
                <a:ext uri="{FF2B5EF4-FFF2-40B4-BE49-F238E27FC236}">
                  <a16:creationId xmlns:a16="http://schemas.microsoft.com/office/drawing/2014/main" id="{5588E670-7F67-99F7-6623-BDC9926A633F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59" name="Gerade Verbindung 258">
              <a:extLst>
                <a:ext uri="{FF2B5EF4-FFF2-40B4-BE49-F238E27FC236}">
                  <a16:creationId xmlns:a16="http://schemas.microsoft.com/office/drawing/2014/main" id="{741985EB-19E9-08A0-EBCC-A47E5440B910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61" name="Gerade Verbindung 260">
              <a:extLst>
                <a:ext uri="{FF2B5EF4-FFF2-40B4-BE49-F238E27FC236}">
                  <a16:creationId xmlns:a16="http://schemas.microsoft.com/office/drawing/2014/main" id="{92ADE39F-2238-EC06-E8C0-87D6AA273486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262" name="Gruppieren 261">
            <a:extLst>
              <a:ext uri="{FF2B5EF4-FFF2-40B4-BE49-F238E27FC236}">
                <a16:creationId xmlns:a16="http://schemas.microsoft.com/office/drawing/2014/main" id="{51055C28-AC02-E40F-D0F7-E1A1D9965EAE}"/>
              </a:ext>
            </a:extLst>
          </p:cNvPr>
          <p:cNvGrpSpPr/>
          <p:nvPr/>
        </p:nvGrpSpPr>
        <p:grpSpPr>
          <a:xfrm>
            <a:off x="3993436" y="8032296"/>
            <a:ext cx="486000" cy="199665"/>
            <a:chOff x="6241348" y="11027664"/>
            <a:chExt cx="2740198" cy="150096"/>
          </a:xfrm>
        </p:grpSpPr>
        <p:cxnSp>
          <p:nvCxnSpPr>
            <p:cNvPr id="265" name="Gerade Verbindung 264">
              <a:extLst>
                <a:ext uri="{FF2B5EF4-FFF2-40B4-BE49-F238E27FC236}">
                  <a16:creationId xmlns:a16="http://schemas.microsoft.com/office/drawing/2014/main" id="{A8BBC94E-15AF-B910-1FED-D1946701DEC9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76" name="Gerade Verbindung 275">
              <a:extLst>
                <a:ext uri="{FF2B5EF4-FFF2-40B4-BE49-F238E27FC236}">
                  <a16:creationId xmlns:a16="http://schemas.microsoft.com/office/drawing/2014/main" id="{2F08F540-0F93-93C9-EFB0-9F2D42C1EF78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77" name="Gerade Verbindung 276">
              <a:extLst>
                <a:ext uri="{FF2B5EF4-FFF2-40B4-BE49-F238E27FC236}">
                  <a16:creationId xmlns:a16="http://schemas.microsoft.com/office/drawing/2014/main" id="{5286754B-515B-158D-2C91-2D86D2D6B590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283" name="9">
            <a:extLst>
              <a:ext uri="{FF2B5EF4-FFF2-40B4-BE49-F238E27FC236}">
                <a16:creationId xmlns:a16="http://schemas.microsoft.com/office/drawing/2014/main" id="{D4FD5E58-779A-F57B-BD9F-CB095FE4A4E4}"/>
              </a:ext>
            </a:extLst>
          </p:cNvPr>
          <p:cNvSpPr txBox="1"/>
          <p:nvPr/>
        </p:nvSpPr>
        <p:spPr>
          <a:xfrm>
            <a:off x="6464926" y="4284094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min</a:t>
            </a:r>
            <a:endParaRPr/>
          </a:p>
        </p:txBody>
      </p:sp>
      <p:sp>
        <p:nvSpPr>
          <p:cNvPr id="284" name="9">
            <a:extLst>
              <a:ext uri="{FF2B5EF4-FFF2-40B4-BE49-F238E27FC236}">
                <a16:creationId xmlns:a16="http://schemas.microsoft.com/office/drawing/2014/main" id="{28A977BC-FFC0-AE68-D028-B06EAC690FC9}"/>
              </a:ext>
            </a:extLst>
          </p:cNvPr>
          <p:cNvSpPr txBox="1"/>
          <p:nvPr/>
        </p:nvSpPr>
        <p:spPr>
          <a:xfrm>
            <a:off x="7575012" y="4284094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avg</a:t>
            </a:r>
            <a:endParaRPr/>
          </a:p>
        </p:txBody>
      </p:sp>
      <p:sp>
        <p:nvSpPr>
          <p:cNvPr id="302" name="9">
            <a:extLst>
              <a:ext uri="{FF2B5EF4-FFF2-40B4-BE49-F238E27FC236}">
                <a16:creationId xmlns:a16="http://schemas.microsoft.com/office/drawing/2014/main" id="{06C687E6-4F88-05D9-E2EC-0470A9213EAD}"/>
              </a:ext>
            </a:extLst>
          </p:cNvPr>
          <p:cNvSpPr txBox="1"/>
          <p:nvPr/>
        </p:nvSpPr>
        <p:spPr>
          <a:xfrm>
            <a:off x="8956583" y="4282056"/>
            <a:ext cx="531413" cy="29133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max</a:t>
            </a:r>
            <a:endParaRPr/>
          </a:p>
        </p:txBody>
      </p:sp>
      <p:grpSp>
        <p:nvGrpSpPr>
          <p:cNvPr id="303" name="Gruppieren 302">
            <a:extLst>
              <a:ext uri="{FF2B5EF4-FFF2-40B4-BE49-F238E27FC236}">
                <a16:creationId xmlns:a16="http://schemas.microsoft.com/office/drawing/2014/main" id="{5F770DAC-23B7-6DEB-C86B-046DE6E20733}"/>
              </a:ext>
            </a:extLst>
          </p:cNvPr>
          <p:cNvGrpSpPr/>
          <p:nvPr/>
        </p:nvGrpSpPr>
        <p:grpSpPr>
          <a:xfrm>
            <a:off x="15521763" y="4720190"/>
            <a:ext cx="4971601" cy="3653016"/>
            <a:chOff x="4643856" y="4329515"/>
            <a:chExt cx="4971601" cy="3653016"/>
          </a:xfrm>
        </p:grpSpPr>
        <p:sp>
          <p:nvSpPr>
            <p:cNvPr id="304" name="9">
              <a:extLst>
                <a:ext uri="{FF2B5EF4-FFF2-40B4-BE49-F238E27FC236}">
                  <a16:creationId xmlns:a16="http://schemas.microsoft.com/office/drawing/2014/main" id="{B530D843-A8C8-5A12-48AC-AAFBE5A24E5F}"/>
                </a:ext>
              </a:extLst>
            </p:cNvPr>
            <p:cNvSpPr txBox="1"/>
            <p:nvPr/>
          </p:nvSpPr>
          <p:spPr>
            <a:xfrm>
              <a:off x="4643856" y="7647731"/>
              <a:ext cx="676800" cy="334800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05" name="9">
              <a:extLst>
                <a:ext uri="{FF2B5EF4-FFF2-40B4-BE49-F238E27FC236}">
                  <a16:creationId xmlns:a16="http://schemas.microsoft.com/office/drawing/2014/main" id="{1A474F60-8766-70AC-9744-13F178BDE5DB}"/>
                </a:ext>
              </a:extLst>
            </p:cNvPr>
            <p:cNvSpPr txBox="1"/>
            <p:nvPr/>
          </p:nvSpPr>
          <p:spPr>
            <a:xfrm>
              <a:off x="4643857" y="5988623"/>
              <a:ext cx="2332800" cy="334800"/>
            </a:xfrm>
            <a:prstGeom prst="rect">
              <a:avLst/>
            </a:prstGeom>
            <a:solidFill>
              <a:srgbClr val="047D8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06" name="9">
              <a:extLst>
                <a:ext uri="{FF2B5EF4-FFF2-40B4-BE49-F238E27FC236}">
                  <a16:creationId xmlns:a16="http://schemas.microsoft.com/office/drawing/2014/main" id="{6640265E-6FED-064C-5CDD-11FAEB842D80}"/>
                </a:ext>
              </a:extLst>
            </p:cNvPr>
            <p:cNvSpPr txBox="1"/>
            <p:nvPr/>
          </p:nvSpPr>
          <p:spPr>
            <a:xfrm>
              <a:off x="4643857" y="5573846"/>
              <a:ext cx="2584800" cy="334800"/>
            </a:xfrm>
            <a:prstGeom prst="rect">
              <a:avLst/>
            </a:prstGeom>
            <a:solidFill>
              <a:srgbClr val="C0DDBD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07" name="9">
              <a:extLst>
                <a:ext uri="{FF2B5EF4-FFF2-40B4-BE49-F238E27FC236}">
                  <a16:creationId xmlns:a16="http://schemas.microsoft.com/office/drawing/2014/main" id="{FFA817AF-B51D-77C9-D721-08C7276A3EEE}"/>
                </a:ext>
              </a:extLst>
            </p:cNvPr>
            <p:cNvSpPr txBox="1"/>
            <p:nvPr/>
          </p:nvSpPr>
          <p:spPr>
            <a:xfrm>
              <a:off x="4643857" y="5159069"/>
              <a:ext cx="3949200" cy="334800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08" name="9">
              <a:extLst>
                <a:ext uri="{FF2B5EF4-FFF2-40B4-BE49-F238E27FC236}">
                  <a16:creationId xmlns:a16="http://schemas.microsoft.com/office/drawing/2014/main" id="{411E9910-0DD1-C2A4-1253-AA4FA7848C16}"/>
                </a:ext>
              </a:extLst>
            </p:cNvPr>
            <p:cNvSpPr txBox="1"/>
            <p:nvPr/>
          </p:nvSpPr>
          <p:spPr>
            <a:xfrm>
              <a:off x="4643857" y="4744292"/>
              <a:ext cx="4593600" cy="334800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09" name="9">
              <a:extLst>
                <a:ext uri="{FF2B5EF4-FFF2-40B4-BE49-F238E27FC236}">
                  <a16:creationId xmlns:a16="http://schemas.microsoft.com/office/drawing/2014/main" id="{8FA5B8A7-5109-12E6-5E2C-C7DAEDB6A907}"/>
                </a:ext>
              </a:extLst>
            </p:cNvPr>
            <p:cNvSpPr txBox="1"/>
            <p:nvPr/>
          </p:nvSpPr>
          <p:spPr>
            <a:xfrm>
              <a:off x="4643857" y="4329515"/>
              <a:ext cx="4971600" cy="334800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10" name="9">
              <a:extLst>
                <a:ext uri="{FF2B5EF4-FFF2-40B4-BE49-F238E27FC236}">
                  <a16:creationId xmlns:a16="http://schemas.microsoft.com/office/drawing/2014/main" id="{04267D66-F5B3-106B-9B16-3757605BEF5D}"/>
                </a:ext>
              </a:extLst>
            </p:cNvPr>
            <p:cNvSpPr txBox="1"/>
            <p:nvPr/>
          </p:nvSpPr>
          <p:spPr>
            <a:xfrm>
              <a:off x="4643856" y="6403400"/>
              <a:ext cx="2145600" cy="334800"/>
            </a:xfrm>
            <a:prstGeom prst="rect">
              <a:avLst/>
            </a:prstGeom>
            <a:solidFill>
              <a:srgbClr val="5A5260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11" name="9">
              <a:extLst>
                <a:ext uri="{FF2B5EF4-FFF2-40B4-BE49-F238E27FC236}">
                  <a16:creationId xmlns:a16="http://schemas.microsoft.com/office/drawing/2014/main" id="{9375770E-BBA4-09AE-F18D-3043750C9C85}"/>
                </a:ext>
              </a:extLst>
            </p:cNvPr>
            <p:cNvSpPr txBox="1"/>
            <p:nvPr/>
          </p:nvSpPr>
          <p:spPr>
            <a:xfrm>
              <a:off x="4643856" y="6818177"/>
              <a:ext cx="1332000" cy="334800"/>
            </a:xfrm>
            <a:prstGeom prst="rect">
              <a:avLst/>
            </a:prstGeom>
            <a:solidFill>
              <a:srgbClr val="3CA555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12" name="9">
              <a:extLst>
                <a:ext uri="{FF2B5EF4-FFF2-40B4-BE49-F238E27FC236}">
                  <a16:creationId xmlns:a16="http://schemas.microsoft.com/office/drawing/2014/main" id="{01D3C4BF-123D-20FE-3AF4-FFA56E31AA5D}"/>
                </a:ext>
              </a:extLst>
            </p:cNvPr>
            <p:cNvSpPr txBox="1"/>
            <p:nvPr/>
          </p:nvSpPr>
          <p:spPr>
            <a:xfrm>
              <a:off x="4643856" y="7232954"/>
              <a:ext cx="1134000" cy="334800"/>
            </a:xfrm>
            <a:prstGeom prst="rect">
              <a:avLst/>
            </a:prstGeom>
            <a:solidFill>
              <a:srgbClr val="F86200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grpSp>
        <p:nvGrpSpPr>
          <p:cNvPr id="313" name="Gruppieren 312">
            <a:extLst>
              <a:ext uri="{FF2B5EF4-FFF2-40B4-BE49-F238E27FC236}">
                <a16:creationId xmlns:a16="http://schemas.microsoft.com/office/drawing/2014/main" id="{6116EB57-93B7-0EC9-D36A-5910A77761FD}"/>
              </a:ext>
            </a:extLst>
          </p:cNvPr>
          <p:cNvGrpSpPr/>
          <p:nvPr/>
        </p:nvGrpSpPr>
        <p:grpSpPr>
          <a:xfrm>
            <a:off x="19292913" y="4787850"/>
            <a:ext cx="2016000" cy="193774"/>
            <a:chOff x="6241348" y="11027664"/>
            <a:chExt cx="2740198" cy="150096"/>
          </a:xfrm>
        </p:grpSpPr>
        <p:cxnSp>
          <p:nvCxnSpPr>
            <p:cNvPr id="314" name="Gerade Verbindung 313">
              <a:extLst>
                <a:ext uri="{FF2B5EF4-FFF2-40B4-BE49-F238E27FC236}">
                  <a16:creationId xmlns:a16="http://schemas.microsoft.com/office/drawing/2014/main" id="{CBF82C1D-84BD-4939-F6DA-5E49CF2660F3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5" name="Gerade Verbindung 314">
              <a:extLst>
                <a:ext uri="{FF2B5EF4-FFF2-40B4-BE49-F238E27FC236}">
                  <a16:creationId xmlns:a16="http://schemas.microsoft.com/office/drawing/2014/main" id="{EE306FB4-D357-A120-58FF-4C92CC788B78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6" name="Gerade Verbindung 315">
              <a:extLst>
                <a:ext uri="{FF2B5EF4-FFF2-40B4-BE49-F238E27FC236}">
                  <a16:creationId xmlns:a16="http://schemas.microsoft.com/office/drawing/2014/main" id="{A71008C4-99F0-D0AD-6DA5-C9626BB00FFB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17" name="Gruppieren 316">
            <a:extLst>
              <a:ext uri="{FF2B5EF4-FFF2-40B4-BE49-F238E27FC236}">
                <a16:creationId xmlns:a16="http://schemas.microsoft.com/office/drawing/2014/main" id="{669F4E63-9484-F284-40F0-689BFF5B72B0}"/>
              </a:ext>
            </a:extLst>
          </p:cNvPr>
          <p:cNvGrpSpPr/>
          <p:nvPr/>
        </p:nvGrpSpPr>
        <p:grpSpPr>
          <a:xfrm>
            <a:off x="18948673" y="5197649"/>
            <a:ext cx="3650733" cy="198408"/>
            <a:chOff x="6241348" y="11027664"/>
            <a:chExt cx="2740198" cy="150096"/>
          </a:xfrm>
        </p:grpSpPr>
        <p:cxnSp>
          <p:nvCxnSpPr>
            <p:cNvPr id="318" name="Gerade Verbindung 317">
              <a:extLst>
                <a:ext uri="{FF2B5EF4-FFF2-40B4-BE49-F238E27FC236}">
                  <a16:creationId xmlns:a16="http://schemas.microsoft.com/office/drawing/2014/main" id="{C7307766-38EF-ED63-9B08-AFFDC83C2067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9" name="Gerade Verbindung 318">
              <a:extLst>
                <a:ext uri="{FF2B5EF4-FFF2-40B4-BE49-F238E27FC236}">
                  <a16:creationId xmlns:a16="http://schemas.microsoft.com/office/drawing/2014/main" id="{27E7628E-CA4A-A470-E0A7-DCC68BB15153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0" name="Gerade Verbindung 319">
              <a:extLst>
                <a:ext uri="{FF2B5EF4-FFF2-40B4-BE49-F238E27FC236}">
                  <a16:creationId xmlns:a16="http://schemas.microsoft.com/office/drawing/2014/main" id="{D051CA1F-DEDB-AE93-2099-7F8795D87080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21" name="Gruppieren 320">
            <a:extLst>
              <a:ext uri="{FF2B5EF4-FFF2-40B4-BE49-F238E27FC236}">
                <a16:creationId xmlns:a16="http://schemas.microsoft.com/office/drawing/2014/main" id="{3B916347-1CAB-37DD-146E-F1031E2B9C96}"/>
              </a:ext>
            </a:extLst>
          </p:cNvPr>
          <p:cNvGrpSpPr/>
          <p:nvPr/>
        </p:nvGrpSpPr>
        <p:grpSpPr>
          <a:xfrm>
            <a:off x="18820657" y="5627269"/>
            <a:ext cx="1207179" cy="199665"/>
            <a:chOff x="6241348" y="11027664"/>
            <a:chExt cx="2740198" cy="150096"/>
          </a:xfrm>
        </p:grpSpPr>
        <p:cxnSp>
          <p:nvCxnSpPr>
            <p:cNvPr id="322" name="Gerade Verbindung 321">
              <a:extLst>
                <a:ext uri="{FF2B5EF4-FFF2-40B4-BE49-F238E27FC236}">
                  <a16:creationId xmlns:a16="http://schemas.microsoft.com/office/drawing/2014/main" id="{2D883439-FDD8-440A-4BB7-35A66A47FB38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4" name="Gerade Verbindung 323">
              <a:extLst>
                <a:ext uri="{FF2B5EF4-FFF2-40B4-BE49-F238E27FC236}">
                  <a16:creationId xmlns:a16="http://schemas.microsoft.com/office/drawing/2014/main" id="{2A2539F7-CF5C-BF9E-236A-4D8FC7A26B5B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5" name="Gerade Verbindung 324">
              <a:extLst>
                <a:ext uri="{FF2B5EF4-FFF2-40B4-BE49-F238E27FC236}">
                  <a16:creationId xmlns:a16="http://schemas.microsoft.com/office/drawing/2014/main" id="{A5E5E987-12E5-2B0A-1288-C83ED3A8103C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26" name="Gruppieren 325">
            <a:extLst>
              <a:ext uri="{FF2B5EF4-FFF2-40B4-BE49-F238E27FC236}">
                <a16:creationId xmlns:a16="http://schemas.microsoft.com/office/drawing/2014/main" id="{6434C0AB-722A-BC58-8A3B-BA9CDCA6F201}"/>
              </a:ext>
            </a:extLst>
          </p:cNvPr>
          <p:cNvGrpSpPr/>
          <p:nvPr/>
        </p:nvGrpSpPr>
        <p:grpSpPr>
          <a:xfrm>
            <a:off x="17250974" y="6036796"/>
            <a:ext cx="1207179" cy="199665"/>
            <a:chOff x="6241348" y="11027664"/>
            <a:chExt cx="2740198" cy="150096"/>
          </a:xfrm>
        </p:grpSpPr>
        <p:cxnSp>
          <p:nvCxnSpPr>
            <p:cNvPr id="327" name="Gerade Verbindung 326">
              <a:extLst>
                <a:ext uri="{FF2B5EF4-FFF2-40B4-BE49-F238E27FC236}">
                  <a16:creationId xmlns:a16="http://schemas.microsoft.com/office/drawing/2014/main" id="{5FA431E5-7109-EE98-8BAC-AFD2167298CD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8" name="Gerade Verbindung 327">
              <a:extLst>
                <a:ext uri="{FF2B5EF4-FFF2-40B4-BE49-F238E27FC236}">
                  <a16:creationId xmlns:a16="http://schemas.microsoft.com/office/drawing/2014/main" id="{48C03D6B-3269-CA93-A825-CB1AF7FB058E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9" name="Gerade Verbindung 328">
              <a:extLst>
                <a:ext uri="{FF2B5EF4-FFF2-40B4-BE49-F238E27FC236}">
                  <a16:creationId xmlns:a16="http://schemas.microsoft.com/office/drawing/2014/main" id="{C071EE45-AA2A-0FAE-7BA2-779275FCFC46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30" name="Gruppieren 329">
            <a:extLst>
              <a:ext uri="{FF2B5EF4-FFF2-40B4-BE49-F238E27FC236}">
                <a16:creationId xmlns:a16="http://schemas.microsoft.com/office/drawing/2014/main" id="{1F2CC93D-28D6-A55F-B94B-3ECF80E2F3E7}"/>
              </a:ext>
            </a:extLst>
          </p:cNvPr>
          <p:cNvGrpSpPr/>
          <p:nvPr/>
        </p:nvGrpSpPr>
        <p:grpSpPr>
          <a:xfrm>
            <a:off x="17667363" y="6446866"/>
            <a:ext cx="1207179" cy="199665"/>
            <a:chOff x="6241348" y="11027664"/>
            <a:chExt cx="2740198" cy="150096"/>
          </a:xfrm>
        </p:grpSpPr>
        <p:cxnSp>
          <p:nvCxnSpPr>
            <p:cNvPr id="331" name="Gerade Verbindung 330">
              <a:extLst>
                <a:ext uri="{FF2B5EF4-FFF2-40B4-BE49-F238E27FC236}">
                  <a16:creationId xmlns:a16="http://schemas.microsoft.com/office/drawing/2014/main" id="{1C30A80D-1082-D545-E72E-92A582835DCD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32" name="Gerade Verbindung 331">
              <a:extLst>
                <a:ext uri="{FF2B5EF4-FFF2-40B4-BE49-F238E27FC236}">
                  <a16:creationId xmlns:a16="http://schemas.microsoft.com/office/drawing/2014/main" id="{FF07E019-EFEE-33E8-7871-737DE48FA99A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33" name="Gerade Verbindung 332">
              <a:extLst>
                <a:ext uri="{FF2B5EF4-FFF2-40B4-BE49-F238E27FC236}">
                  <a16:creationId xmlns:a16="http://schemas.microsoft.com/office/drawing/2014/main" id="{33F735E9-4E28-E562-D806-BC11499A6EAF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34" name="Gruppieren 333">
            <a:extLst>
              <a:ext uri="{FF2B5EF4-FFF2-40B4-BE49-F238E27FC236}">
                <a16:creationId xmlns:a16="http://schemas.microsoft.com/office/drawing/2014/main" id="{B67BD943-08E7-5418-A31E-FC1C920BE8F7}"/>
              </a:ext>
            </a:extLst>
          </p:cNvPr>
          <p:cNvGrpSpPr/>
          <p:nvPr/>
        </p:nvGrpSpPr>
        <p:grpSpPr>
          <a:xfrm>
            <a:off x="17419477" y="6854413"/>
            <a:ext cx="486000" cy="199665"/>
            <a:chOff x="6241348" y="11027664"/>
            <a:chExt cx="2740198" cy="150096"/>
          </a:xfrm>
        </p:grpSpPr>
        <p:cxnSp>
          <p:nvCxnSpPr>
            <p:cNvPr id="335" name="Gerade Verbindung 334">
              <a:extLst>
                <a:ext uri="{FF2B5EF4-FFF2-40B4-BE49-F238E27FC236}">
                  <a16:creationId xmlns:a16="http://schemas.microsoft.com/office/drawing/2014/main" id="{1013C8FA-8F10-9479-8FA1-02ECBFE8A527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36" name="Gerade Verbindung 335">
              <a:extLst>
                <a:ext uri="{FF2B5EF4-FFF2-40B4-BE49-F238E27FC236}">
                  <a16:creationId xmlns:a16="http://schemas.microsoft.com/office/drawing/2014/main" id="{ED76EAED-CF2B-5C96-E6A7-E388F63BBE8C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37" name="Gerade Verbindung 336">
              <a:extLst>
                <a:ext uri="{FF2B5EF4-FFF2-40B4-BE49-F238E27FC236}">
                  <a16:creationId xmlns:a16="http://schemas.microsoft.com/office/drawing/2014/main" id="{1F27EDF3-43E5-A7F8-5D5A-BFB86F67590A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FC8BED20-30EC-440F-778F-BB814A72F20A}"/>
              </a:ext>
            </a:extLst>
          </p:cNvPr>
          <p:cNvGrpSpPr/>
          <p:nvPr/>
        </p:nvGrpSpPr>
        <p:grpSpPr>
          <a:xfrm>
            <a:off x="16601130" y="7280564"/>
            <a:ext cx="486000" cy="199665"/>
            <a:chOff x="6241348" y="11027664"/>
            <a:chExt cx="2740198" cy="150096"/>
          </a:xfrm>
        </p:grpSpPr>
        <p:cxnSp>
          <p:nvCxnSpPr>
            <p:cNvPr id="339" name="Gerade Verbindung 338">
              <a:extLst>
                <a:ext uri="{FF2B5EF4-FFF2-40B4-BE49-F238E27FC236}">
                  <a16:creationId xmlns:a16="http://schemas.microsoft.com/office/drawing/2014/main" id="{1C4ED8CF-6FC2-5744-F600-1844A67C4A59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0" name="Gerade Verbindung 339">
              <a:extLst>
                <a:ext uri="{FF2B5EF4-FFF2-40B4-BE49-F238E27FC236}">
                  <a16:creationId xmlns:a16="http://schemas.microsoft.com/office/drawing/2014/main" id="{028B8E77-E2D0-2765-EA98-4B9BA960032D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1" name="Gerade Verbindung 340">
              <a:extLst>
                <a:ext uri="{FF2B5EF4-FFF2-40B4-BE49-F238E27FC236}">
                  <a16:creationId xmlns:a16="http://schemas.microsoft.com/office/drawing/2014/main" id="{01237D54-C566-3C68-A0ED-7E63658DCA84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42" name="Gruppieren 341">
            <a:extLst>
              <a:ext uri="{FF2B5EF4-FFF2-40B4-BE49-F238E27FC236}">
                <a16:creationId xmlns:a16="http://schemas.microsoft.com/office/drawing/2014/main" id="{CDBC71E8-C9B1-3A90-1849-A54A5F7F1DA7}"/>
              </a:ext>
            </a:extLst>
          </p:cNvPr>
          <p:cNvGrpSpPr/>
          <p:nvPr/>
        </p:nvGrpSpPr>
        <p:grpSpPr>
          <a:xfrm>
            <a:off x="16383990" y="7690352"/>
            <a:ext cx="486000" cy="199665"/>
            <a:chOff x="6241348" y="11027664"/>
            <a:chExt cx="2740198" cy="150096"/>
          </a:xfrm>
        </p:grpSpPr>
        <p:cxnSp>
          <p:nvCxnSpPr>
            <p:cNvPr id="343" name="Gerade Verbindung 342">
              <a:extLst>
                <a:ext uri="{FF2B5EF4-FFF2-40B4-BE49-F238E27FC236}">
                  <a16:creationId xmlns:a16="http://schemas.microsoft.com/office/drawing/2014/main" id="{9710D4C3-9939-6EC1-7257-79B6AE9EA9F8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4" name="Gerade Verbindung 343">
              <a:extLst>
                <a:ext uri="{FF2B5EF4-FFF2-40B4-BE49-F238E27FC236}">
                  <a16:creationId xmlns:a16="http://schemas.microsoft.com/office/drawing/2014/main" id="{F963A26A-C6F5-319E-4CA6-3D087AD2966B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5" name="Gerade Verbindung 344">
              <a:extLst>
                <a:ext uri="{FF2B5EF4-FFF2-40B4-BE49-F238E27FC236}">
                  <a16:creationId xmlns:a16="http://schemas.microsoft.com/office/drawing/2014/main" id="{AB6BC323-DDFA-2396-59B6-6DC243054DBA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347" name="Gruppieren 346">
            <a:extLst>
              <a:ext uri="{FF2B5EF4-FFF2-40B4-BE49-F238E27FC236}">
                <a16:creationId xmlns:a16="http://schemas.microsoft.com/office/drawing/2014/main" id="{9F9B94A2-7E82-3A85-3D2C-43AC5E1405FA}"/>
              </a:ext>
            </a:extLst>
          </p:cNvPr>
          <p:cNvGrpSpPr/>
          <p:nvPr/>
        </p:nvGrpSpPr>
        <p:grpSpPr>
          <a:xfrm>
            <a:off x="16009929" y="8099956"/>
            <a:ext cx="486000" cy="199665"/>
            <a:chOff x="6241348" y="11027664"/>
            <a:chExt cx="2740198" cy="150096"/>
          </a:xfrm>
        </p:grpSpPr>
        <p:cxnSp>
          <p:nvCxnSpPr>
            <p:cNvPr id="349" name="Gerade Verbindung 348">
              <a:extLst>
                <a:ext uri="{FF2B5EF4-FFF2-40B4-BE49-F238E27FC236}">
                  <a16:creationId xmlns:a16="http://schemas.microsoft.com/office/drawing/2014/main" id="{3A7DEC67-2742-EFFC-E5C2-76DAF6124CAD}"/>
                </a:ext>
              </a:extLst>
            </p:cNvPr>
            <p:cNvCxnSpPr/>
            <p:nvPr/>
          </p:nvCxnSpPr>
          <p:spPr>
            <a:xfrm>
              <a:off x="6245306" y="11100816"/>
              <a:ext cx="2736240" cy="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50" name="Gerade Verbindung 349">
              <a:extLst>
                <a:ext uri="{FF2B5EF4-FFF2-40B4-BE49-F238E27FC236}">
                  <a16:creationId xmlns:a16="http://schemas.microsoft.com/office/drawing/2014/main" id="{D7769862-49E3-0BF6-9E90-CC95931D4D46}"/>
                </a:ext>
              </a:extLst>
            </p:cNvPr>
            <p:cNvCxnSpPr/>
            <p:nvPr/>
          </p:nvCxnSpPr>
          <p:spPr>
            <a:xfrm>
              <a:off x="8978452" y="11027664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51" name="Gerade Verbindung 350">
              <a:extLst>
                <a:ext uri="{FF2B5EF4-FFF2-40B4-BE49-F238E27FC236}">
                  <a16:creationId xmlns:a16="http://schemas.microsoft.com/office/drawing/2014/main" id="{957C05BB-4FF0-FEA5-275F-5E437B4AD66B}"/>
                </a:ext>
              </a:extLst>
            </p:cNvPr>
            <p:cNvCxnSpPr>
              <a:cxnSpLocks/>
            </p:cNvCxnSpPr>
            <p:nvPr/>
          </p:nvCxnSpPr>
          <p:spPr>
            <a:xfrm>
              <a:off x="6241348" y="11033760"/>
              <a:ext cx="0" cy="1440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352" name="9">
            <a:extLst>
              <a:ext uri="{FF2B5EF4-FFF2-40B4-BE49-F238E27FC236}">
                <a16:creationId xmlns:a16="http://schemas.microsoft.com/office/drawing/2014/main" id="{52D0879B-1D77-3810-B368-8DAC41F17F0A}"/>
              </a:ext>
            </a:extLst>
          </p:cNvPr>
          <p:cNvSpPr txBox="1"/>
          <p:nvPr/>
        </p:nvSpPr>
        <p:spPr>
          <a:xfrm>
            <a:off x="18481419" y="4351754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min</a:t>
            </a:r>
            <a:endParaRPr/>
          </a:p>
        </p:txBody>
      </p:sp>
      <p:sp>
        <p:nvSpPr>
          <p:cNvPr id="353" name="9">
            <a:extLst>
              <a:ext uri="{FF2B5EF4-FFF2-40B4-BE49-F238E27FC236}">
                <a16:creationId xmlns:a16="http://schemas.microsoft.com/office/drawing/2014/main" id="{EB21A4A2-73C4-DB7E-A6E1-360B9DED5645}"/>
              </a:ext>
            </a:extLst>
          </p:cNvPr>
          <p:cNvSpPr txBox="1"/>
          <p:nvPr/>
        </p:nvSpPr>
        <p:spPr>
          <a:xfrm>
            <a:off x="19591505" y="4351754"/>
            <a:ext cx="101947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avg</a:t>
            </a:r>
            <a:endParaRPr/>
          </a:p>
        </p:txBody>
      </p:sp>
      <p:sp>
        <p:nvSpPr>
          <p:cNvPr id="356" name="9">
            <a:extLst>
              <a:ext uri="{FF2B5EF4-FFF2-40B4-BE49-F238E27FC236}">
                <a16:creationId xmlns:a16="http://schemas.microsoft.com/office/drawing/2014/main" id="{8848FCF5-7C1B-4F3B-8120-D25F56B37175}"/>
              </a:ext>
            </a:extLst>
          </p:cNvPr>
          <p:cNvSpPr txBox="1"/>
          <p:nvPr/>
        </p:nvSpPr>
        <p:spPr>
          <a:xfrm>
            <a:off x="20973076" y="4349716"/>
            <a:ext cx="531413" cy="29133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 err="1"/>
              <a:t>max</a:t>
            </a:r>
            <a:endParaRPr/>
          </a:p>
        </p:txBody>
      </p:sp>
      <p:sp>
        <p:nvSpPr>
          <p:cNvPr id="149" name="9">
            <a:extLst>
              <a:ext uri="{FF2B5EF4-FFF2-40B4-BE49-F238E27FC236}">
                <a16:creationId xmlns:a16="http://schemas.microsoft.com/office/drawing/2014/main" id="{ADCC7C84-57B8-55A9-C16A-7D535B61C056}"/>
              </a:ext>
            </a:extLst>
          </p:cNvPr>
          <p:cNvSpPr txBox="1"/>
          <p:nvPr/>
        </p:nvSpPr>
        <p:spPr>
          <a:xfrm>
            <a:off x="1757731" y="4559590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Agriculture, forestry &amp; fishing</a:t>
            </a:r>
            <a:endParaRPr/>
          </a:p>
        </p:txBody>
      </p:sp>
      <p:sp>
        <p:nvSpPr>
          <p:cNvPr id="150" name="9">
            <a:extLst>
              <a:ext uri="{FF2B5EF4-FFF2-40B4-BE49-F238E27FC236}">
                <a16:creationId xmlns:a16="http://schemas.microsoft.com/office/drawing/2014/main" id="{AF2B8A9F-29CB-84CD-EB3B-7E6D7D3A5D72}"/>
              </a:ext>
            </a:extLst>
          </p:cNvPr>
          <p:cNvSpPr txBox="1"/>
          <p:nvPr/>
        </p:nvSpPr>
        <p:spPr>
          <a:xfrm>
            <a:off x="1764879" y="5005077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Textile &amp; Tobacco MF-8 </a:t>
            </a:r>
            <a:endParaRPr/>
          </a:p>
        </p:txBody>
      </p:sp>
      <p:sp>
        <p:nvSpPr>
          <p:cNvPr id="151" name="9">
            <a:extLst>
              <a:ext uri="{FF2B5EF4-FFF2-40B4-BE49-F238E27FC236}">
                <a16:creationId xmlns:a16="http://schemas.microsoft.com/office/drawing/2014/main" id="{F73A9E2A-0EE7-2E2B-3BC5-D70BD5326A8A}"/>
              </a:ext>
            </a:extLst>
          </p:cNvPr>
          <p:cNvSpPr txBox="1"/>
          <p:nvPr/>
        </p:nvSpPr>
        <p:spPr>
          <a:xfrm>
            <a:off x="1764878" y="5546281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152" name="9">
            <a:extLst>
              <a:ext uri="{FF2B5EF4-FFF2-40B4-BE49-F238E27FC236}">
                <a16:creationId xmlns:a16="http://schemas.microsoft.com/office/drawing/2014/main" id="{53224C34-540A-F592-173F-969F4C69EF1E}"/>
              </a:ext>
            </a:extLst>
          </p:cNvPr>
          <p:cNvSpPr txBox="1"/>
          <p:nvPr/>
        </p:nvSpPr>
        <p:spPr>
          <a:xfrm>
            <a:off x="13822370" y="4594231"/>
            <a:ext cx="1462817" cy="65659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Food: Meat &amp; grocery MF-2 </a:t>
            </a:r>
          </a:p>
          <a:p>
            <a:endParaRPr lang="de-DE"/>
          </a:p>
        </p:txBody>
      </p:sp>
      <p:sp>
        <p:nvSpPr>
          <p:cNvPr id="153" name="9">
            <a:extLst>
              <a:ext uri="{FF2B5EF4-FFF2-40B4-BE49-F238E27FC236}">
                <a16:creationId xmlns:a16="http://schemas.microsoft.com/office/drawing/2014/main" id="{A07B59D7-B69B-FF4B-8B7C-8419DE8B19C7}"/>
              </a:ext>
            </a:extLst>
          </p:cNvPr>
          <p:cNvSpPr txBox="1"/>
          <p:nvPr/>
        </p:nvSpPr>
        <p:spPr>
          <a:xfrm>
            <a:off x="13829518" y="5132051"/>
            <a:ext cx="1462817" cy="47192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Textile &amp; Tobacco MF-8 </a:t>
            </a:r>
            <a:endParaRPr/>
          </a:p>
        </p:txBody>
      </p:sp>
      <p:sp>
        <p:nvSpPr>
          <p:cNvPr id="154" name="9">
            <a:extLst>
              <a:ext uri="{FF2B5EF4-FFF2-40B4-BE49-F238E27FC236}">
                <a16:creationId xmlns:a16="http://schemas.microsoft.com/office/drawing/2014/main" id="{FC9B40F5-A89B-7CC7-CFCA-694B00CAFBCA}"/>
              </a:ext>
            </a:extLst>
          </p:cNvPr>
          <p:cNvSpPr txBox="1"/>
          <p:nvPr/>
        </p:nvSpPr>
        <p:spPr>
          <a:xfrm>
            <a:off x="13829517" y="5673255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AF239905-2A49-0578-7614-AACB5EF0FA59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56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CAA21D7F-E884-E113-AC60-77AFAA581A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157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12D01E9A-7329-E5E6-8DB7-E5E037FA5624}"/>
              </a:ext>
            </a:extLst>
          </p:cNvPr>
          <p:cNvPicPr>
            <a:picLocks/>
          </p:cNvPicPr>
          <p:nvPr/>
        </p:nvPicPr>
        <p:blipFill>
          <a:blip r:embed="rId2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Global Commercial Portfolio Tool">
            <a:extLst>
              <a:ext uri="{FF2B5EF4-FFF2-40B4-BE49-F238E27FC236}">
                <a16:creationId xmlns:a16="http://schemas.microsoft.com/office/drawing/2014/main" id="{EBA0AF27-22C7-F418-CB23-34345DD5A9F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</a:t>
            </a:r>
            <a:r>
              <a:rPr lang="en-US" i="1"/>
              <a:t> </a:t>
            </a:r>
            <a:r>
              <a:rPr lang="en-US"/>
              <a:t>Exposure &amp; Accumulation</a:t>
            </a:r>
            <a:endParaRPr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697C117-5DD9-746A-54BD-B3CA0939730E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A4A4AD3D-131D-47CD-B72B-1422CF184C4C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92" name="Gruppieren 32">
            <a:extLst>
              <a:ext uri="{FF2B5EF4-FFF2-40B4-BE49-F238E27FC236}">
                <a16:creationId xmlns:a16="http://schemas.microsoft.com/office/drawing/2014/main" id="{46E592F8-AD4B-41F5-9839-6966F6A7D842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19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371B76A-26A9-4825-986A-0445DE9459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4" name="OE Name">
              <a:extLst>
                <a:ext uri="{FF2B5EF4-FFF2-40B4-BE49-F238E27FC236}">
                  <a16:creationId xmlns:a16="http://schemas.microsoft.com/office/drawing/2014/main" id="{4014D31A-5875-482F-9A45-407D08F4326D}"/>
                </a:ext>
              </a:extLst>
            </p:cNvPr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95" name="Rectangle">
              <a:extLst>
                <a:ext uri="{FF2B5EF4-FFF2-40B4-BE49-F238E27FC236}">
                  <a16:creationId xmlns:a16="http://schemas.microsoft.com/office/drawing/2014/main" id="{4C243B1F-28C3-4650-969D-A9116D001A7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96" name="All">
              <a:extLst>
                <a:ext uri="{FF2B5EF4-FFF2-40B4-BE49-F238E27FC236}">
                  <a16:creationId xmlns:a16="http://schemas.microsoft.com/office/drawing/2014/main" id="{FA114509-1C17-4125-BC64-49F25719E7CF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97" name="Gruppieren 31">
            <a:extLst>
              <a:ext uri="{FF2B5EF4-FFF2-40B4-BE49-F238E27FC236}">
                <a16:creationId xmlns:a16="http://schemas.microsoft.com/office/drawing/2014/main" id="{ECDA4256-51FE-44A6-8F0E-2B2F64DF48CB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9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714E6AE-A79F-4B7A-A77E-27CD8693F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9" name="OE Name">
              <a:extLst>
                <a:ext uri="{FF2B5EF4-FFF2-40B4-BE49-F238E27FC236}">
                  <a16:creationId xmlns:a16="http://schemas.microsoft.com/office/drawing/2014/main" id="{B6FE555B-A74F-4486-9BF2-2EAB41A1843D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0" name="Rectangle">
              <a:extLst>
                <a:ext uri="{FF2B5EF4-FFF2-40B4-BE49-F238E27FC236}">
                  <a16:creationId xmlns:a16="http://schemas.microsoft.com/office/drawing/2014/main" id="{38E9A79D-EEC3-414D-94F2-5E6322F59087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01" name="All">
              <a:extLst>
                <a:ext uri="{FF2B5EF4-FFF2-40B4-BE49-F238E27FC236}">
                  <a16:creationId xmlns:a16="http://schemas.microsoft.com/office/drawing/2014/main" id="{FCE5AF15-7511-4448-A0D6-5D21EE6844CB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02" name="Gruppieren 30">
            <a:extLst>
              <a:ext uri="{FF2B5EF4-FFF2-40B4-BE49-F238E27FC236}">
                <a16:creationId xmlns:a16="http://schemas.microsoft.com/office/drawing/2014/main" id="{2D71E431-B978-4BD7-BCDB-7E241E9EDF9B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0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4FB1739-8CCF-45C4-818D-8021D0F21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04" name="OE Name">
              <a:extLst>
                <a:ext uri="{FF2B5EF4-FFF2-40B4-BE49-F238E27FC236}">
                  <a16:creationId xmlns:a16="http://schemas.microsoft.com/office/drawing/2014/main" id="{CB82B823-8F43-40A4-973A-0E42785CB54F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052A566E-96A9-4A5B-97ED-E1F1F9C167F7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06" name="All">
              <a:extLst>
                <a:ext uri="{FF2B5EF4-FFF2-40B4-BE49-F238E27FC236}">
                  <a16:creationId xmlns:a16="http://schemas.microsoft.com/office/drawing/2014/main" id="{9387B496-BECA-4BC4-AE9C-BFC15F9A67E1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07" name="Gruppieren 29">
            <a:extLst>
              <a:ext uri="{FF2B5EF4-FFF2-40B4-BE49-F238E27FC236}">
                <a16:creationId xmlns:a16="http://schemas.microsoft.com/office/drawing/2014/main" id="{A6F92034-2E7B-4D3E-B965-3A24DF302CB0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0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6657E63-7C02-4C10-8534-CB944DFCD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09" name="OE Name">
              <a:extLst>
                <a:ext uri="{FF2B5EF4-FFF2-40B4-BE49-F238E27FC236}">
                  <a16:creationId xmlns:a16="http://schemas.microsoft.com/office/drawing/2014/main" id="{F7855245-E0D3-4500-A24F-7683B70CEDBE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10" name="Rectangle">
              <a:extLst>
                <a:ext uri="{FF2B5EF4-FFF2-40B4-BE49-F238E27FC236}">
                  <a16:creationId xmlns:a16="http://schemas.microsoft.com/office/drawing/2014/main" id="{16182D88-B7D3-4383-A35E-E313CB0448B4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1" name="All">
              <a:extLst>
                <a:ext uri="{FF2B5EF4-FFF2-40B4-BE49-F238E27FC236}">
                  <a16:creationId xmlns:a16="http://schemas.microsoft.com/office/drawing/2014/main" id="{E9B5523A-2608-4037-A864-1F14E88111AD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12" name="Gruppieren 32">
            <a:extLst>
              <a:ext uri="{FF2B5EF4-FFF2-40B4-BE49-F238E27FC236}">
                <a16:creationId xmlns:a16="http://schemas.microsoft.com/office/drawing/2014/main" id="{33D02E3E-2DA6-4DC0-A323-5B66913E550F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21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1974E4ED-5ED7-4CBD-8D83-94331D537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14" name="OE Name">
              <a:extLst>
                <a:ext uri="{FF2B5EF4-FFF2-40B4-BE49-F238E27FC236}">
                  <a16:creationId xmlns:a16="http://schemas.microsoft.com/office/drawing/2014/main" id="{6E7AC6AD-E50A-432F-BF31-61F4A63A9714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215" name="Rectangle">
              <a:extLst>
                <a:ext uri="{FF2B5EF4-FFF2-40B4-BE49-F238E27FC236}">
                  <a16:creationId xmlns:a16="http://schemas.microsoft.com/office/drawing/2014/main" id="{AE845376-6B61-4D78-92C5-1136A75AF292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6" name="All">
              <a:extLst>
                <a:ext uri="{FF2B5EF4-FFF2-40B4-BE49-F238E27FC236}">
                  <a16:creationId xmlns:a16="http://schemas.microsoft.com/office/drawing/2014/main" id="{9ABF18F4-1DF4-4EF3-B3FE-509085E61CC8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17" name="Gruppieren 32">
            <a:extLst>
              <a:ext uri="{FF2B5EF4-FFF2-40B4-BE49-F238E27FC236}">
                <a16:creationId xmlns:a16="http://schemas.microsoft.com/office/drawing/2014/main" id="{1E60AC39-9794-41B7-AF40-C5502BB279F9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2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91D2D1CF-DCFB-4B17-925D-9CF0792FC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19" name="OE Name">
              <a:extLst>
                <a:ext uri="{FF2B5EF4-FFF2-40B4-BE49-F238E27FC236}">
                  <a16:creationId xmlns:a16="http://schemas.microsoft.com/office/drawing/2014/main" id="{29F116F6-1AFC-4DDE-9C02-F9DFECF53E4D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220" name="Rectangle">
              <a:extLst>
                <a:ext uri="{FF2B5EF4-FFF2-40B4-BE49-F238E27FC236}">
                  <a16:creationId xmlns:a16="http://schemas.microsoft.com/office/drawing/2014/main" id="{7479B182-243B-4083-98DB-1E0EB35CE3D0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21" name="All">
              <a:extLst>
                <a:ext uri="{FF2B5EF4-FFF2-40B4-BE49-F238E27FC236}">
                  <a16:creationId xmlns:a16="http://schemas.microsoft.com/office/drawing/2014/main" id="{FBA47AD3-A338-4617-AC24-84AC5323363E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222" name="Gruppieren 29">
            <a:extLst>
              <a:ext uri="{FF2B5EF4-FFF2-40B4-BE49-F238E27FC236}">
                <a16:creationId xmlns:a16="http://schemas.microsoft.com/office/drawing/2014/main" id="{D771C088-1E71-4C8E-A3EB-4673294EF747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22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B318D9F-CA57-466B-AA84-25264EA6A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24" name="OE Name">
              <a:extLst>
                <a:ext uri="{FF2B5EF4-FFF2-40B4-BE49-F238E27FC236}">
                  <a16:creationId xmlns:a16="http://schemas.microsoft.com/office/drawing/2014/main" id="{359A64D0-47E6-4FB6-9904-748900C94CD8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225" name="Rectangle">
              <a:extLst>
                <a:ext uri="{FF2B5EF4-FFF2-40B4-BE49-F238E27FC236}">
                  <a16:creationId xmlns:a16="http://schemas.microsoft.com/office/drawing/2014/main" id="{2A461A94-CB14-484A-9EB5-8F754A7E4688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26" name="All">
              <a:extLst>
                <a:ext uri="{FF2B5EF4-FFF2-40B4-BE49-F238E27FC236}">
                  <a16:creationId xmlns:a16="http://schemas.microsoft.com/office/drawing/2014/main" id="{AB5A41B2-1BE9-4F7A-9B36-EEFF519914E5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227" name="Gruppieren 29">
            <a:extLst>
              <a:ext uri="{FF2B5EF4-FFF2-40B4-BE49-F238E27FC236}">
                <a16:creationId xmlns:a16="http://schemas.microsoft.com/office/drawing/2014/main" id="{A7CDC47E-4328-422C-9972-7B7BEE780388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22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A1EC65C-44F5-441E-BF21-01C4BB136E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29" name="OE Name">
              <a:extLst>
                <a:ext uri="{FF2B5EF4-FFF2-40B4-BE49-F238E27FC236}">
                  <a16:creationId xmlns:a16="http://schemas.microsoft.com/office/drawing/2014/main" id="{2E0F1CCF-1E82-411C-8F7F-28AC4C0C00E8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230" name="Rectangle">
              <a:extLst>
                <a:ext uri="{FF2B5EF4-FFF2-40B4-BE49-F238E27FC236}">
                  <a16:creationId xmlns:a16="http://schemas.microsoft.com/office/drawing/2014/main" id="{4EB80B91-3FAB-4BCA-9B64-726FDEEAA548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31" name="All">
              <a:extLst>
                <a:ext uri="{FF2B5EF4-FFF2-40B4-BE49-F238E27FC236}">
                  <a16:creationId xmlns:a16="http://schemas.microsoft.com/office/drawing/2014/main" id="{4119C565-B85B-4AAD-B8A9-E9E8FF397502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232" name="Gruppieren 29">
            <a:extLst>
              <a:ext uri="{FF2B5EF4-FFF2-40B4-BE49-F238E27FC236}">
                <a16:creationId xmlns:a16="http://schemas.microsoft.com/office/drawing/2014/main" id="{4AA59AA2-AA69-4AE7-9735-17416FFE8A72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23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262808E-B6B9-4420-A51B-37ED87E11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4" name="OE Name">
              <a:extLst>
                <a:ext uri="{FF2B5EF4-FFF2-40B4-BE49-F238E27FC236}">
                  <a16:creationId xmlns:a16="http://schemas.microsoft.com/office/drawing/2014/main" id="{F13FF07C-4F41-4EE9-81C4-AFB781F95909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235" name="Rectangle">
              <a:extLst>
                <a:ext uri="{FF2B5EF4-FFF2-40B4-BE49-F238E27FC236}">
                  <a16:creationId xmlns:a16="http://schemas.microsoft.com/office/drawing/2014/main" id="{C7062A4A-4E74-450B-B2F0-9F817EA47B85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36" name="All">
              <a:extLst>
                <a:ext uri="{FF2B5EF4-FFF2-40B4-BE49-F238E27FC236}">
                  <a16:creationId xmlns:a16="http://schemas.microsoft.com/office/drawing/2014/main" id="{0980678E-201A-4DA1-895A-3B5F814B05B4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237" name="Gruppieren 29">
            <a:extLst>
              <a:ext uri="{FF2B5EF4-FFF2-40B4-BE49-F238E27FC236}">
                <a16:creationId xmlns:a16="http://schemas.microsoft.com/office/drawing/2014/main" id="{22C19350-DADC-4BE9-8485-687C99D402C5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23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5D68964E-1E2B-40B5-B9AE-5AE5A698F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9" name="OE Name">
              <a:extLst>
                <a:ext uri="{FF2B5EF4-FFF2-40B4-BE49-F238E27FC236}">
                  <a16:creationId xmlns:a16="http://schemas.microsoft.com/office/drawing/2014/main" id="{EC61259D-AE57-4A66-A3DC-8027D8034493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240" name="Rectangle">
              <a:extLst>
                <a:ext uri="{FF2B5EF4-FFF2-40B4-BE49-F238E27FC236}">
                  <a16:creationId xmlns:a16="http://schemas.microsoft.com/office/drawing/2014/main" id="{F201ABD6-6DA3-4D93-92E4-4B3CB576F29B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41" name="All">
              <a:extLst>
                <a:ext uri="{FF2B5EF4-FFF2-40B4-BE49-F238E27FC236}">
                  <a16:creationId xmlns:a16="http://schemas.microsoft.com/office/drawing/2014/main" id="{2C521F1E-E0D5-40A2-909F-A5F7ECA1FA93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242" name="Rectangle 241">
            <a:extLst>
              <a:ext uri="{FF2B5EF4-FFF2-40B4-BE49-F238E27FC236}">
                <a16:creationId xmlns:a16="http://schemas.microsoft.com/office/drawing/2014/main" id="{9695978A-7996-4E44-AD38-6960AA191895}"/>
              </a:ext>
            </a:extLst>
          </p:cNvPr>
          <p:cNvSpPr/>
          <p:nvPr/>
        </p:nvSpPr>
        <p:spPr>
          <a:xfrm>
            <a:off x="13990453" y="1997795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75803684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tangle"/>
          <p:cNvSpPr/>
          <p:nvPr/>
        </p:nvSpPr>
        <p:spPr>
          <a:xfrm>
            <a:off x="377251" y="-2534548"/>
            <a:ext cx="13227433" cy="825862"/>
          </a:xfrm>
          <a:prstGeom prst="rect">
            <a:avLst/>
          </a:prstGeom>
          <a:solidFill>
            <a:schemeClr val="accent1">
              <a:lumOff val="16847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88" name="OE Name: All"/>
          <p:cNvSpPr/>
          <p:nvPr/>
        </p:nvSpPr>
        <p:spPr>
          <a:xfrm>
            <a:off x="2811571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OE Name: All</a:t>
            </a:r>
          </a:p>
        </p:txBody>
      </p:sp>
      <p:sp>
        <p:nvSpPr>
          <p:cNvPr id="289" name="LoB: All"/>
          <p:cNvSpPr/>
          <p:nvPr/>
        </p:nvSpPr>
        <p:spPr>
          <a:xfrm>
            <a:off x="4979670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LoB: All</a:t>
            </a:r>
          </a:p>
        </p:txBody>
      </p:sp>
      <p:sp>
        <p:nvSpPr>
          <p:cNvPr id="290" name="SubLob: All"/>
          <p:cNvSpPr/>
          <p:nvPr/>
        </p:nvSpPr>
        <p:spPr>
          <a:xfrm>
            <a:off x="7147769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SubLob: All</a:t>
            </a:r>
          </a:p>
        </p:txBody>
      </p:sp>
      <p:sp>
        <p:nvSpPr>
          <p:cNvPr id="291" name="AZ_ISIC_PLUS: All"/>
          <p:cNvSpPr/>
          <p:nvPr/>
        </p:nvSpPr>
        <p:spPr>
          <a:xfrm>
            <a:off x="9312894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AZ_ISIC_PLUS: All</a:t>
            </a:r>
          </a:p>
        </p:txBody>
      </p:sp>
      <p:sp>
        <p:nvSpPr>
          <p:cNvPr id="292" name="Triangle"/>
          <p:cNvSpPr/>
          <p:nvPr/>
        </p:nvSpPr>
        <p:spPr>
          <a:xfrm rot="10800000" flipH="1">
            <a:off x="4645348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3" name="Triangle"/>
          <p:cNvSpPr/>
          <p:nvPr/>
        </p:nvSpPr>
        <p:spPr>
          <a:xfrm rot="10800000" flipH="1">
            <a:off x="6813447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4" name="Triangle"/>
          <p:cNvSpPr/>
          <p:nvPr/>
        </p:nvSpPr>
        <p:spPr>
          <a:xfrm rot="10800000" flipH="1">
            <a:off x="8981546" y="-2356929"/>
            <a:ext cx="243741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5" name="Triangle"/>
          <p:cNvSpPr/>
          <p:nvPr/>
        </p:nvSpPr>
        <p:spPr>
          <a:xfrm rot="10800000" flipH="1">
            <a:off x="11146671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6" name="&lt;Additional Filter&gt;"/>
          <p:cNvSpPr/>
          <p:nvPr/>
        </p:nvSpPr>
        <p:spPr>
          <a:xfrm>
            <a:off x="11478018" y="-2453645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&lt;Additional Filter&gt;</a:t>
            </a:r>
          </a:p>
        </p:txBody>
      </p:sp>
      <p:sp>
        <p:nvSpPr>
          <p:cNvPr id="297" name="Triangle"/>
          <p:cNvSpPr/>
          <p:nvPr/>
        </p:nvSpPr>
        <p:spPr>
          <a:xfrm rot="10800000" flipH="1">
            <a:off x="13271566" y="-2791192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8" name="Report Segment"/>
          <p:cNvSpPr txBox="1"/>
          <p:nvPr/>
        </p:nvSpPr>
        <p:spPr>
          <a:xfrm>
            <a:off x="453333" y="-2536290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Report Segment</a:t>
            </a:r>
          </a:p>
        </p:txBody>
      </p:sp>
      <p:sp>
        <p:nvSpPr>
          <p:cNvPr id="299" name="Number of Policies"/>
          <p:cNvSpPr/>
          <p:nvPr/>
        </p:nvSpPr>
        <p:spPr>
          <a:xfrm>
            <a:off x="2810084" y="-2095636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Number of Policies</a:t>
            </a:r>
          </a:p>
        </p:txBody>
      </p:sp>
      <p:sp>
        <p:nvSpPr>
          <p:cNvPr id="300" name="Triangle"/>
          <p:cNvSpPr/>
          <p:nvPr/>
        </p:nvSpPr>
        <p:spPr>
          <a:xfrm rot="10800000" flipH="1">
            <a:off x="4643861" y="-1995038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301" name="KPIs"/>
          <p:cNvSpPr txBox="1"/>
          <p:nvPr/>
        </p:nvSpPr>
        <p:spPr>
          <a:xfrm>
            <a:off x="447384" y="-2179723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KPI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AF239905-2A49-0578-7614-AACB5EF0FA59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56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CAA21D7F-E884-E113-AC60-77AFAA581A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157" name="Screenshot 2021-09-03 at 19.26.14.png" descr="Screenshot 2021-09-03 at 19.26.14.png">
            <a:extLst>
              <a:ext uri="{FF2B5EF4-FFF2-40B4-BE49-F238E27FC236}">
                <a16:creationId xmlns:a16="http://schemas.microsoft.com/office/drawing/2014/main" id="{12D01E9A-7329-E5E6-8DB7-E5E037FA5624}"/>
              </a:ext>
            </a:extLst>
          </p:cNvPr>
          <p:cNvPicPr>
            <a:picLocks/>
          </p:cNvPicPr>
          <p:nvPr/>
        </p:nvPicPr>
        <p:blipFill>
          <a:blip r:embed="rId2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Global Commercial Portfolio Tool">
            <a:extLst>
              <a:ext uri="{FF2B5EF4-FFF2-40B4-BE49-F238E27FC236}">
                <a16:creationId xmlns:a16="http://schemas.microsoft.com/office/drawing/2014/main" id="{EBA0AF27-22C7-F418-CB23-34345DD5A9F1}"/>
              </a:ext>
            </a:extLst>
          </p:cNvPr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 </a:t>
            </a:r>
            <a:r>
              <a:rPr lang="en-US" i="1"/>
              <a:t> </a:t>
            </a:r>
            <a:r>
              <a:rPr lang="en-US"/>
              <a:t>Exposure &amp; Accumulation</a:t>
            </a:r>
            <a:endParaRPr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697C117-5DD9-746A-54BD-B3CA0939730E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A4A4AD3D-131D-47CD-B72B-1422CF184C4C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92" name="Gruppieren 32">
            <a:extLst>
              <a:ext uri="{FF2B5EF4-FFF2-40B4-BE49-F238E27FC236}">
                <a16:creationId xmlns:a16="http://schemas.microsoft.com/office/drawing/2014/main" id="{46E592F8-AD4B-41F5-9839-6966F6A7D842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19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4371B76A-26A9-4825-986A-0445DE9459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4" name="OE Name">
              <a:extLst>
                <a:ext uri="{FF2B5EF4-FFF2-40B4-BE49-F238E27FC236}">
                  <a16:creationId xmlns:a16="http://schemas.microsoft.com/office/drawing/2014/main" id="{4014D31A-5875-482F-9A45-407D08F4326D}"/>
                </a:ext>
              </a:extLst>
            </p:cNvPr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95" name="Rectangle">
              <a:extLst>
                <a:ext uri="{FF2B5EF4-FFF2-40B4-BE49-F238E27FC236}">
                  <a16:creationId xmlns:a16="http://schemas.microsoft.com/office/drawing/2014/main" id="{4C243B1F-28C3-4650-969D-A9116D001A7F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96" name="All">
              <a:extLst>
                <a:ext uri="{FF2B5EF4-FFF2-40B4-BE49-F238E27FC236}">
                  <a16:creationId xmlns:a16="http://schemas.microsoft.com/office/drawing/2014/main" id="{FA114509-1C17-4125-BC64-49F25719E7CF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97" name="Gruppieren 31">
            <a:extLst>
              <a:ext uri="{FF2B5EF4-FFF2-40B4-BE49-F238E27FC236}">
                <a16:creationId xmlns:a16="http://schemas.microsoft.com/office/drawing/2014/main" id="{ECDA4256-51FE-44A6-8F0E-2B2F64DF48CB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9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714E6AE-A79F-4B7A-A77E-27CD8693F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99" name="OE Name">
              <a:extLst>
                <a:ext uri="{FF2B5EF4-FFF2-40B4-BE49-F238E27FC236}">
                  <a16:creationId xmlns:a16="http://schemas.microsoft.com/office/drawing/2014/main" id="{B6FE555B-A74F-4486-9BF2-2EAB41A1843D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200" name="Rectangle">
              <a:extLst>
                <a:ext uri="{FF2B5EF4-FFF2-40B4-BE49-F238E27FC236}">
                  <a16:creationId xmlns:a16="http://schemas.microsoft.com/office/drawing/2014/main" id="{38E9A79D-EEC3-414D-94F2-5E6322F59087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01" name="All">
              <a:extLst>
                <a:ext uri="{FF2B5EF4-FFF2-40B4-BE49-F238E27FC236}">
                  <a16:creationId xmlns:a16="http://schemas.microsoft.com/office/drawing/2014/main" id="{FCE5AF15-7511-4448-A0D6-5D21EE6844CB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02" name="Gruppieren 30">
            <a:extLst>
              <a:ext uri="{FF2B5EF4-FFF2-40B4-BE49-F238E27FC236}">
                <a16:creationId xmlns:a16="http://schemas.microsoft.com/office/drawing/2014/main" id="{2D71E431-B978-4BD7-BCDB-7E241E9EDF9B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20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4FB1739-8CCF-45C4-818D-8021D0F21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04" name="OE Name">
              <a:extLst>
                <a:ext uri="{FF2B5EF4-FFF2-40B4-BE49-F238E27FC236}">
                  <a16:creationId xmlns:a16="http://schemas.microsoft.com/office/drawing/2014/main" id="{CB82B823-8F43-40A4-973A-0E42785CB54F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052A566E-96A9-4A5B-97ED-E1F1F9C167F7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06" name="All">
              <a:extLst>
                <a:ext uri="{FF2B5EF4-FFF2-40B4-BE49-F238E27FC236}">
                  <a16:creationId xmlns:a16="http://schemas.microsoft.com/office/drawing/2014/main" id="{9387B496-BECA-4BC4-AE9C-BFC15F9A67E1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07" name="Gruppieren 29">
            <a:extLst>
              <a:ext uri="{FF2B5EF4-FFF2-40B4-BE49-F238E27FC236}">
                <a16:creationId xmlns:a16="http://schemas.microsoft.com/office/drawing/2014/main" id="{A6F92034-2E7B-4D3E-B965-3A24DF302CB0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20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6657E63-7C02-4C10-8534-CB944DFCD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09" name="OE Name">
              <a:extLst>
                <a:ext uri="{FF2B5EF4-FFF2-40B4-BE49-F238E27FC236}">
                  <a16:creationId xmlns:a16="http://schemas.microsoft.com/office/drawing/2014/main" id="{F7855245-E0D3-4500-A24F-7683B70CEDBE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210" name="Rectangle">
              <a:extLst>
                <a:ext uri="{FF2B5EF4-FFF2-40B4-BE49-F238E27FC236}">
                  <a16:creationId xmlns:a16="http://schemas.microsoft.com/office/drawing/2014/main" id="{16182D88-B7D3-4383-A35E-E313CB0448B4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1" name="All">
              <a:extLst>
                <a:ext uri="{FF2B5EF4-FFF2-40B4-BE49-F238E27FC236}">
                  <a16:creationId xmlns:a16="http://schemas.microsoft.com/office/drawing/2014/main" id="{E9B5523A-2608-4037-A864-1F14E88111AD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12" name="Gruppieren 32">
            <a:extLst>
              <a:ext uri="{FF2B5EF4-FFF2-40B4-BE49-F238E27FC236}">
                <a16:creationId xmlns:a16="http://schemas.microsoft.com/office/drawing/2014/main" id="{33D02E3E-2DA6-4DC0-A323-5B66913E550F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21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1974E4ED-5ED7-4CBD-8D83-94331D537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14" name="OE Name">
              <a:extLst>
                <a:ext uri="{FF2B5EF4-FFF2-40B4-BE49-F238E27FC236}">
                  <a16:creationId xmlns:a16="http://schemas.microsoft.com/office/drawing/2014/main" id="{6E7AC6AD-E50A-432F-BF31-61F4A63A9714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215" name="Rectangle">
              <a:extLst>
                <a:ext uri="{FF2B5EF4-FFF2-40B4-BE49-F238E27FC236}">
                  <a16:creationId xmlns:a16="http://schemas.microsoft.com/office/drawing/2014/main" id="{AE845376-6B61-4D78-92C5-1136A75AF292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6" name="All">
              <a:extLst>
                <a:ext uri="{FF2B5EF4-FFF2-40B4-BE49-F238E27FC236}">
                  <a16:creationId xmlns:a16="http://schemas.microsoft.com/office/drawing/2014/main" id="{9ABF18F4-1DF4-4EF3-B3FE-509085E61CC8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217" name="Gruppieren 32">
            <a:extLst>
              <a:ext uri="{FF2B5EF4-FFF2-40B4-BE49-F238E27FC236}">
                <a16:creationId xmlns:a16="http://schemas.microsoft.com/office/drawing/2014/main" id="{1E60AC39-9794-41B7-AF40-C5502BB279F9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21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91D2D1CF-DCFB-4B17-925D-9CF0792FC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19" name="OE Name">
              <a:extLst>
                <a:ext uri="{FF2B5EF4-FFF2-40B4-BE49-F238E27FC236}">
                  <a16:creationId xmlns:a16="http://schemas.microsoft.com/office/drawing/2014/main" id="{29F116F6-1AFC-4DDE-9C02-F9DFECF53E4D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220" name="Rectangle">
              <a:extLst>
                <a:ext uri="{FF2B5EF4-FFF2-40B4-BE49-F238E27FC236}">
                  <a16:creationId xmlns:a16="http://schemas.microsoft.com/office/drawing/2014/main" id="{7479B182-243B-4083-98DB-1E0EB35CE3D0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21" name="All">
              <a:extLst>
                <a:ext uri="{FF2B5EF4-FFF2-40B4-BE49-F238E27FC236}">
                  <a16:creationId xmlns:a16="http://schemas.microsoft.com/office/drawing/2014/main" id="{FBA47AD3-A338-4617-AC24-84AC5323363E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222" name="Gruppieren 29">
            <a:extLst>
              <a:ext uri="{FF2B5EF4-FFF2-40B4-BE49-F238E27FC236}">
                <a16:creationId xmlns:a16="http://schemas.microsoft.com/office/drawing/2014/main" id="{D771C088-1E71-4C8E-A3EB-4673294EF747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22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B318D9F-CA57-466B-AA84-25264EA6A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24" name="OE Name">
              <a:extLst>
                <a:ext uri="{FF2B5EF4-FFF2-40B4-BE49-F238E27FC236}">
                  <a16:creationId xmlns:a16="http://schemas.microsoft.com/office/drawing/2014/main" id="{359A64D0-47E6-4FB6-9904-748900C94CD8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225" name="Rectangle">
              <a:extLst>
                <a:ext uri="{FF2B5EF4-FFF2-40B4-BE49-F238E27FC236}">
                  <a16:creationId xmlns:a16="http://schemas.microsoft.com/office/drawing/2014/main" id="{2A461A94-CB14-484A-9EB5-8F754A7E4688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26" name="All">
              <a:extLst>
                <a:ext uri="{FF2B5EF4-FFF2-40B4-BE49-F238E27FC236}">
                  <a16:creationId xmlns:a16="http://schemas.microsoft.com/office/drawing/2014/main" id="{AB5A41B2-1BE9-4F7A-9B36-EEFF519914E5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227" name="Gruppieren 29">
            <a:extLst>
              <a:ext uri="{FF2B5EF4-FFF2-40B4-BE49-F238E27FC236}">
                <a16:creationId xmlns:a16="http://schemas.microsoft.com/office/drawing/2014/main" id="{A7CDC47E-4328-422C-9972-7B7BEE780388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22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A1EC65C-44F5-441E-BF21-01C4BB136E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29" name="OE Name">
              <a:extLst>
                <a:ext uri="{FF2B5EF4-FFF2-40B4-BE49-F238E27FC236}">
                  <a16:creationId xmlns:a16="http://schemas.microsoft.com/office/drawing/2014/main" id="{2E0F1CCF-1E82-411C-8F7F-28AC4C0C00E8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230" name="Rectangle">
              <a:extLst>
                <a:ext uri="{FF2B5EF4-FFF2-40B4-BE49-F238E27FC236}">
                  <a16:creationId xmlns:a16="http://schemas.microsoft.com/office/drawing/2014/main" id="{4EB80B91-3FAB-4BCA-9B64-726FDEEAA548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31" name="All">
              <a:extLst>
                <a:ext uri="{FF2B5EF4-FFF2-40B4-BE49-F238E27FC236}">
                  <a16:creationId xmlns:a16="http://schemas.microsoft.com/office/drawing/2014/main" id="{4119C565-B85B-4AAD-B8A9-E9E8FF397502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232" name="Gruppieren 29">
            <a:extLst>
              <a:ext uri="{FF2B5EF4-FFF2-40B4-BE49-F238E27FC236}">
                <a16:creationId xmlns:a16="http://schemas.microsoft.com/office/drawing/2014/main" id="{4AA59AA2-AA69-4AE7-9735-17416FFE8A72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233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262808E-B6B9-4420-A51B-37ED87E11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4" name="OE Name">
              <a:extLst>
                <a:ext uri="{FF2B5EF4-FFF2-40B4-BE49-F238E27FC236}">
                  <a16:creationId xmlns:a16="http://schemas.microsoft.com/office/drawing/2014/main" id="{F13FF07C-4F41-4EE9-81C4-AFB781F95909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235" name="Rectangle">
              <a:extLst>
                <a:ext uri="{FF2B5EF4-FFF2-40B4-BE49-F238E27FC236}">
                  <a16:creationId xmlns:a16="http://schemas.microsoft.com/office/drawing/2014/main" id="{C7062A4A-4E74-450B-B2F0-9F817EA47B85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36" name="All">
              <a:extLst>
                <a:ext uri="{FF2B5EF4-FFF2-40B4-BE49-F238E27FC236}">
                  <a16:creationId xmlns:a16="http://schemas.microsoft.com/office/drawing/2014/main" id="{0980678E-201A-4DA1-895A-3B5F814B05B4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237" name="Gruppieren 29">
            <a:extLst>
              <a:ext uri="{FF2B5EF4-FFF2-40B4-BE49-F238E27FC236}">
                <a16:creationId xmlns:a16="http://schemas.microsoft.com/office/drawing/2014/main" id="{22C19350-DADC-4BE9-8485-687C99D402C5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238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5D68964E-1E2B-40B5-B9AE-5AE5A698F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39" name="OE Name">
              <a:extLst>
                <a:ext uri="{FF2B5EF4-FFF2-40B4-BE49-F238E27FC236}">
                  <a16:creationId xmlns:a16="http://schemas.microsoft.com/office/drawing/2014/main" id="{EC61259D-AE57-4A66-A3DC-8027D8034493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240" name="Rectangle">
              <a:extLst>
                <a:ext uri="{FF2B5EF4-FFF2-40B4-BE49-F238E27FC236}">
                  <a16:creationId xmlns:a16="http://schemas.microsoft.com/office/drawing/2014/main" id="{F201ABD6-6DA3-4D93-92E4-4B3CB576F29B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241" name="All">
              <a:extLst>
                <a:ext uri="{FF2B5EF4-FFF2-40B4-BE49-F238E27FC236}">
                  <a16:creationId xmlns:a16="http://schemas.microsoft.com/office/drawing/2014/main" id="{2C521F1E-E0D5-40A2-909F-A5F7ECA1FA93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242" name="Rectangle 241">
            <a:extLst>
              <a:ext uri="{FF2B5EF4-FFF2-40B4-BE49-F238E27FC236}">
                <a16:creationId xmlns:a16="http://schemas.microsoft.com/office/drawing/2014/main" id="{9695978A-7996-4E44-AD38-6960AA191895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43" name="9">
            <a:extLst>
              <a:ext uri="{FF2B5EF4-FFF2-40B4-BE49-F238E27FC236}">
                <a16:creationId xmlns:a16="http://schemas.microsoft.com/office/drawing/2014/main" id="{B5A33A96-3195-4D4D-8ADD-0AB4A8A114AF}"/>
              </a:ext>
            </a:extLst>
          </p:cNvPr>
          <p:cNvSpPr txBox="1"/>
          <p:nvPr/>
        </p:nvSpPr>
        <p:spPr>
          <a:xfrm>
            <a:off x="13960134" y="41342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244" name="9">
            <a:extLst>
              <a:ext uri="{FF2B5EF4-FFF2-40B4-BE49-F238E27FC236}">
                <a16:creationId xmlns:a16="http://schemas.microsoft.com/office/drawing/2014/main" id="{5FF7D706-53D0-4B92-ADC3-B0AA2A5D6AF7}"/>
              </a:ext>
            </a:extLst>
          </p:cNvPr>
          <p:cNvSpPr txBox="1"/>
          <p:nvPr/>
        </p:nvSpPr>
        <p:spPr>
          <a:xfrm>
            <a:off x="14057169" y="52671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245" name="Gerade Verbindung 347">
            <a:extLst>
              <a:ext uri="{FF2B5EF4-FFF2-40B4-BE49-F238E27FC236}">
                <a16:creationId xmlns:a16="http://schemas.microsoft.com/office/drawing/2014/main" id="{C20A792A-CD51-4620-8119-F70B06989CA2}"/>
              </a:ext>
            </a:extLst>
          </p:cNvPr>
          <p:cNvCxnSpPr>
            <a:cxnSpLocks/>
          </p:cNvCxnSpPr>
          <p:nvPr/>
        </p:nvCxnSpPr>
        <p:spPr>
          <a:xfrm flipH="1">
            <a:off x="14115354" y="52342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347">
            <a:extLst>
              <a:ext uri="{FF2B5EF4-FFF2-40B4-BE49-F238E27FC236}">
                <a16:creationId xmlns:a16="http://schemas.microsoft.com/office/drawing/2014/main" id="{71EEC968-37C9-49BF-A4F3-C89CBE11C0D8}"/>
              </a:ext>
            </a:extLst>
          </p:cNvPr>
          <p:cNvCxnSpPr>
            <a:cxnSpLocks/>
          </p:cNvCxnSpPr>
          <p:nvPr/>
        </p:nvCxnSpPr>
        <p:spPr>
          <a:xfrm flipH="1">
            <a:off x="14115354" y="61028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Gerade Verbindung 347">
            <a:extLst>
              <a:ext uri="{FF2B5EF4-FFF2-40B4-BE49-F238E27FC236}">
                <a16:creationId xmlns:a16="http://schemas.microsoft.com/office/drawing/2014/main" id="{21D2F95E-C7E8-4D68-8CC4-B16D70954A62}"/>
              </a:ext>
            </a:extLst>
          </p:cNvPr>
          <p:cNvCxnSpPr>
            <a:cxnSpLocks/>
          </p:cNvCxnSpPr>
          <p:nvPr/>
        </p:nvCxnSpPr>
        <p:spPr>
          <a:xfrm flipH="1">
            <a:off x="14115354" y="70346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347">
            <a:extLst>
              <a:ext uri="{FF2B5EF4-FFF2-40B4-BE49-F238E27FC236}">
                <a16:creationId xmlns:a16="http://schemas.microsoft.com/office/drawing/2014/main" id="{B8E02AC0-CBBA-47C3-AC99-E1D248D73C46}"/>
              </a:ext>
            </a:extLst>
          </p:cNvPr>
          <p:cNvCxnSpPr>
            <a:cxnSpLocks/>
          </p:cNvCxnSpPr>
          <p:nvPr/>
        </p:nvCxnSpPr>
        <p:spPr>
          <a:xfrm flipH="1">
            <a:off x="14115354" y="79012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9" name="Rechteck 62">
            <a:extLst>
              <a:ext uri="{FF2B5EF4-FFF2-40B4-BE49-F238E27FC236}">
                <a16:creationId xmlns:a16="http://schemas.microsoft.com/office/drawing/2014/main" id="{72150F36-E1A1-49AA-BFCF-350BC2155385}"/>
              </a:ext>
            </a:extLst>
          </p:cNvPr>
          <p:cNvSpPr/>
          <p:nvPr/>
        </p:nvSpPr>
        <p:spPr>
          <a:xfrm>
            <a:off x="11740589" y="35321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0" name="Risk Hazard Group">
            <a:extLst>
              <a:ext uri="{FF2B5EF4-FFF2-40B4-BE49-F238E27FC236}">
                <a16:creationId xmlns:a16="http://schemas.microsoft.com/office/drawing/2014/main" id="{5B9C9688-E01A-4042-A416-C94B68F22B43}"/>
              </a:ext>
            </a:extLst>
          </p:cNvPr>
          <p:cNvSpPr txBox="1"/>
          <p:nvPr/>
        </p:nvSpPr>
        <p:spPr>
          <a:xfrm>
            <a:off x="11830226" y="36638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LIABILITY Gross Limit Distribution</a:t>
            </a:r>
          </a:p>
        </p:txBody>
      </p:sp>
      <p:sp>
        <p:nvSpPr>
          <p:cNvPr id="251" name="9">
            <a:extLst>
              <a:ext uri="{FF2B5EF4-FFF2-40B4-BE49-F238E27FC236}">
                <a16:creationId xmlns:a16="http://schemas.microsoft.com/office/drawing/2014/main" id="{3B3C60E3-6350-4341-ACAB-33270F770433}"/>
              </a:ext>
            </a:extLst>
          </p:cNvPr>
          <p:cNvSpPr txBox="1"/>
          <p:nvPr/>
        </p:nvSpPr>
        <p:spPr>
          <a:xfrm>
            <a:off x="12531029" y="48428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252" name="Gruppieren 345">
            <a:extLst>
              <a:ext uri="{FF2B5EF4-FFF2-40B4-BE49-F238E27FC236}">
                <a16:creationId xmlns:a16="http://schemas.microsoft.com/office/drawing/2014/main" id="{5E313BD6-BE24-4946-A7EE-E7C1F4E14CF5}"/>
              </a:ext>
            </a:extLst>
          </p:cNvPr>
          <p:cNvGrpSpPr/>
          <p:nvPr/>
        </p:nvGrpSpPr>
        <p:grpSpPr>
          <a:xfrm>
            <a:off x="19578171" y="5516182"/>
            <a:ext cx="898623" cy="3221696"/>
            <a:chOff x="4630720" y="4527741"/>
            <a:chExt cx="898623" cy="3528900"/>
          </a:xfrm>
        </p:grpSpPr>
        <p:sp>
          <p:nvSpPr>
            <p:cNvPr id="253" name="9">
              <a:extLst>
                <a:ext uri="{FF2B5EF4-FFF2-40B4-BE49-F238E27FC236}">
                  <a16:creationId xmlns:a16="http://schemas.microsoft.com/office/drawing/2014/main" id="{17AE211B-0AEB-4E08-A5BA-EE35909DB617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4" name="9">
              <a:extLst>
                <a:ext uri="{FF2B5EF4-FFF2-40B4-BE49-F238E27FC236}">
                  <a16:creationId xmlns:a16="http://schemas.microsoft.com/office/drawing/2014/main" id="{7674A1F1-B75A-43C8-8F68-A9B1B21F90A1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5" name="9">
              <a:extLst>
                <a:ext uri="{FF2B5EF4-FFF2-40B4-BE49-F238E27FC236}">
                  <a16:creationId xmlns:a16="http://schemas.microsoft.com/office/drawing/2014/main" id="{8849B34E-5F20-4906-A9D5-5C3E533B588C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58" name="9">
              <a:extLst>
                <a:ext uri="{FF2B5EF4-FFF2-40B4-BE49-F238E27FC236}">
                  <a16:creationId xmlns:a16="http://schemas.microsoft.com/office/drawing/2014/main" id="{FEF09C6D-1FCF-4D13-A83F-57DE72499C41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275" name="Gerade Verbindung 347">
            <a:extLst>
              <a:ext uri="{FF2B5EF4-FFF2-40B4-BE49-F238E27FC236}">
                <a16:creationId xmlns:a16="http://schemas.microsoft.com/office/drawing/2014/main" id="{A24B614F-7B99-4100-8002-B4BCC08A212C}"/>
              </a:ext>
            </a:extLst>
          </p:cNvPr>
          <p:cNvCxnSpPr/>
          <p:nvPr/>
        </p:nvCxnSpPr>
        <p:spPr>
          <a:xfrm>
            <a:off x="14115354" y="48428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Gerade Verbindung mit Pfeil 353">
            <a:extLst>
              <a:ext uri="{FF2B5EF4-FFF2-40B4-BE49-F238E27FC236}">
                <a16:creationId xmlns:a16="http://schemas.microsoft.com/office/drawing/2014/main" id="{992E2FF4-778F-4B10-9AB0-03770321B16A}"/>
              </a:ext>
            </a:extLst>
          </p:cNvPr>
          <p:cNvCxnSpPr>
            <a:cxnSpLocks/>
          </p:cNvCxnSpPr>
          <p:nvPr/>
        </p:nvCxnSpPr>
        <p:spPr>
          <a:xfrm>
            <a:off x="14115354" y="87812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9" name="Rechteck 354">
            <a:extLst>
              <a:ext uri="{FF2B5EF4-FFF2-40B4-BE49-F238E27FC236}">
                <a16:creationId xmlns:a16="http://schemas.microsoft.com/office/drawing/2014/main" id="{C4A4384F-87A0-46E8-BC8F-30F0A188464C}"/>
              </a:ext>
            </a:extLst>
          </p:cNvPr>
          <p:cNvSpPr/>
          <p:nvPr/>
        </p:nvSpPr>
        <p:spPr>
          <a:xfrm>
            <a:off x="11788720" y="4037495"/>
            <a:ext cx="11108819" cy="6790139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80" name="9">
            <a:extLst>
              <a:ext uri="{FF2B5EF4-FFF2-40B4-BE49-F238E27FC236}">
                <a16:creationId xmlns:a16="http://schemas.microsoft.com/office/drawing/2014/main" id="{F53E0943-EB1B-4E53-9E7B-BCAD3BCF5084}"/>
              </a:ext>
            </a:extLst>
          </p:cNvPr>
          <p:cNvSpPr txBox="1"/>
          <p:nvPr/>
        </p:nvSpPr>
        <p:spPr>
          <a:xfrm>
            <a:off x="12479467" y="58942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281" name="Gruppieren 345">
            <a:extLst>
              <a:ext uri="{FF2B5EF4-FFF2-40B4-BE49-F238E27FC236}">
                <a16:creationId xmlns:a16="http://schemas.microsoft.com/office/drawing/2014/main" id="{4917D095-F34B-4F63-B8EE-B823B5F7703E}"/>
              </a:ext>
            </a:extLst>
          </p:cNvPr>
          <p:cNvGrpSpPr/>
          <p:nvPr/>
        </p:nvGrpSpPr>
        <p:grpSpPr>
          <a:xfrm>
            <a:off x="14682685" y="6748624"/>
            <a:ext cx="898623" cy="1989145"/>
            <a:chOff x="4630720" y="5877816"/>
            <a:chExt cx="898623" cy="2178824"/>
          </a:xfrm>
        </p:grpSpPr>
        <p:sp>
          <p:nvSpPr>
            <p:cNvPr id="282" name="9">
              <a:extLst>
                <a:ext uri="{FF2B5EF4-FFF2-40B4-BE49-F238E27FC236}">
                  <a16:creationId xmlns:a16="http://schemas.microsoft.com/office/drawing/2014/main" id="{7A6D17D2-2E3C-412E-B1B7-91A2EDD4DD7D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5" name="9">
              <a:extLst>
                <a:ext uri="{FF2B5EF4-FFF2-40B4-BE49-F238E27FC236}">
                  <a16:creationId xmlns:a16="http://schemas.microsoft.com/office/drawing/2014/main" id="{29A96712-AE9A-415D-BE11-B3EDDE828B45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286" name="9">
              <a:extLst>
                <a:ext uri="{FF2B5EF4-FFF2-40B4-BE49-F238E27FC236}">
                  <a16:creationId xmlns:a16="http://schemas.microsoft.com/office/drawing/2014/main" id="{B23DD151-0CBE-4202-BD81-78349D63B713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23" name="9">
              <a:extLst>
                <a:ext uri="{FF2B5EF4-FFF2-40B4-BE49-F238E27FC236}">
                  <a16:creationId xmlns:a16="http://schemas.microsoft.com/office/drawing/2014/main" id="{FF02B974-2EE7-4ABC-89EF-5C293EA2080F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357" name="9">
            <a:extLst>
              <a:ext uri="{FF2B5EF4-FFF2-40B4-BE49-F238E27FC236}">
                <a16:creationId xmlns:a16="http://schemas.microsoft.com/office/drawing/2014/main" id="{D7164F17-DF94-453B-AA99-7E2387EEFDC4}"/>
              </a:ext>
            </a:extLst>
          </p:cNvPr>
          <p:cNvSpPr txBox="1"/>
          <p:nvPr/>
        </p:nvSpPr>
        <p:spPr>
          <a:xfrm>
            <a:off x="14821542" y="89336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grpSp>
        <p:nvGrpSpPr>
          <p:cNvPr id="358" name="Gruppieren 345">
            <a:extLst>
              <a:ext uri="{FF2B5EF4-FFF2-40B4-BE49-F238E27FC236}">
                <a16:creationId xmlns:a16="http://schemas.microsoft.com/office/drawing/2014/main" id="{A2634AFE-B922-4DDC-A2FD-EA5D0D2B4B5F}"/>
              </a:ext>
            </a:extLst>
          </p:cNvPr>
          <p:cNvGrpSpPr/>
          <p:nvPr/>
        </p:nvGrpSpPr>
        <p:grpSpPr>
          <a:xfrm>
            <a:off x="16282938" y="6365577"/>
            <a:ext cx="898623" cy="2372312"/>
            <a:chOff x="4630720" y="5710885"/>
            <a:chExt cx="898623" cy="2345755"/>
          </a:xfrm>
        </p:grpSpPr>
        <p:sp>
          <p:nvSpPr>
            <p:cNvPr id="359" name="9">
              <a:extLst>
                <a:ext uri="{FF2B5EF4-FFF2-40B4-BE49-F238E27FC236}">
                  <a16:creationId xmlns:a16="http://schemas.microsoft.com/office/drawing/2014/main" id="{9C78D84C-3C4B-4599-9960-64DB8EBDEDB7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0" name="9">
              <a:extLst>
                <a:ext uri="{FF2B5EF4-FFF2-40B4-BE49-F238E27FC236}">
                  <a16:creationId xmlns:a16="http://schemas.microsoft.com/office/drawing/2014/main" id="{6B72316A-9767-45C7-9ACE-451BC8D271F6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1" name="9">
              <a:extLst>
                <a:ext uri="{FF2B5EF4-FFF2-40B4-BE49-F238E27FC236}">
                  <a16:creationId xmlns:a16="http://schemas.microsoft.com/office/drawing/2014/main" id="{7880C224-1A64-4566-B514-5395E3099E08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2" name="9">
              <a:extLst>
                <a:ext uri="{FF2B5EF4-FFF2-40B4-BE49-F238E27FC236}">
                  <a16:creationId xmlns:a16="http://schemas.microsoft.com/office/drawing/2014/main" id="{CD39C779-4D9D-4CEC-92DF-2E1F21EB36A9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363" name="9">
            <a:extLst>
              <a:ext uri="{FF2B5EF4-FFF2-40B4-BE49-F238E27FC236}">
                <a16:creationId xmlns:a16="http://schemas.microsoft.com/office/drawing/2014/main" id="{E2DE1C89-3D4E-4A04-9BD2-8A38C310136E}"/>
              </a:ext>
            </a:extLst>
          </p:cNvPr>
          <p:cNvSpPr txBox="1"/>
          <p:nvPr/>
        </p:nvSpPr>
        <p:spPr>
          <a:xfrm>
            <a:off x="16402027" y="89421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grpSp>
        <p:nvGrpSpPr>
          <p:cNvPr id="364" name="Gruppieren 345">
            <a:extLst>
              <a:ext uri="{FF2B5EF4-FFF2-40B4-BE49-F238E27FC236}">
                <a16:creationId xmlns:a16="http://schemas.microsoft.com/office/drawing/2014/main" id="{8F6ACD85-0832-43A6-BC90-51EA2EA601BB}"/>
              </a:ext>
            </a:extLst>
          </p:cNvPr>
          <p:cNvGrpSpPr/>
          <p:nvPr/>
        </p:nvGrpSpPr>
        <p:grpSpPr>
          <a:xfrm>
            <a:off x="17914776" y="6090705"/>
            <a:ext cx="898623" cy="2647067"/>
            <a:chOff x="4630720" y="5157159"/>
            <a:chExt cx="898623" cy="2899481"/>
          </a:xfrm>
        </p:grpSpPr>
        <p:sp>
          <p:nvSpPr>
            <p:cNvPr id="365" name="9">
              <a:extLst>
                <a:ext uri="{FF2B5EF4-FFF2-40B4-BE49-F238E27FC236}">
                  <a16:creationId xmlns:a16="http://schemas.microsoft.com/office/drawing/2014/main" id="{0CA6378A-4CFF-4BA3-B0C8-791FF9BBD456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6" name="9">
              <a:extLst>
                <a:ext uri="{FF2B5EF4-FFF2-40B4-BE49-F238E27FC236}">
                  <a16:creationId xmlns:a16="http://schemas.microsoft.com/office/drawing/2014/main" id="{718CFE59-E3A5-4F85-81BD-23F028F23FF4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7" name="9">
              <a:extLst>
                <a:ext uri="{FF2B5EF4-FFF2-40B4-BE49-F238E27FC236}">
                  <a16:creationId xmlns:a16="http://schemas.microsoft.com/office/drawing/2014/main" id="{D809ADAE-868A-4D67-8B00-D39D18425862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68" name="9">
              <a:extLst>
                <a:ext uri="{FF2B5EF4-FFF2-40B4-BE49-F238E27FC236}">
                  <a16:creationId xmlns:a16="http://schemas.microsoft.com/office/drawing/2014/main" id="{87BDBE23-EA21-4B0D-84D4-6CDD7E91C0A7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369" name="9">
            <a:extLst>
              <a:ext uri="{FF2B5EF4-FFF2-40B4-BE49-F238E27FC236}">
                <a16:creationId xmlns:a16="http://schemas.microsoft.com/office/drawing/2014/main" id="{53E947FD-E6EA-49CB-9326-1C3EE3DABC6E}"/>
              </a:ext>
            </a:extLst>
          </p:cNvPr>
          <p:cNvSpPr txBox="1"/>
          <p:nvPr/>
        </p:nvSpPr>
        <p:spPr>
          <a:xfrm>
            <a:off x="18041150" y="89275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370" name="9">
            <a:extLst>
              <a:ext uri="{FF2B5EF4-FFF2-40B4-BE49-F238E27FC236}">
                <a16:creationId xmlns:a16="http://schemas.microsoft.com/office/drawing/2014/main" id="{22BF9E20-D971-48ED-944C-39DB0EAB6605}"/>
              </a:ext>
            </a:extLst>
          </p:cNvPr>
          <p:cNvSpPr txBox="1"/>
          <p:nvPr/>
        </p:nvSpPr>
        <p:spPr>
          <a:xfrm>
            <a:off x="19731646" y="88987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grpSp>
        <p:nvGrpSpPr>
          <p:cNvPr id="371" name="Gruppieren 345">
            <a:extLst>
              <a:ext uri="{FF2B5EF4-FFF2-40B4-BE49-F238E27FC236}">
                <a16:creationId xmlns:a16="http://schemas.microsoft.com/office/drawing/2014/main" id="{3A1A2B9D-79F2-4D46-AAA5-CEF972629CC5}"/>
              </a:ext>
            </a:extLst>
          </p:cNvPr>
          <p:cNvGrpSpPr/>
          <p:nvPr/>
        </p:nvGrpSpPr>
        <p:grpSpPr>
          <a:xfrm>
            <a:off x="21225762" y="6090705"/>
            <a:ext cx="898623" cy="2647067"/>
            <a:chOff x="4630720" y="5157159"/>
            <a:chExt cx="898623" cy="2899481"/>
          </a:xfrm>
        </p:grpSpPr>
        <p:sp>
          <p:nvSpPr>
            <p:cNvPr id="372" name="9">
              <a:extLst>
                <a:ext uri="{FF2B5EF4-FFF2-40B4-BE49-F238E27FC236}">
                  <a16:creationId xmlns:a16="http://schemas.microsoft.com/office/drawing/2014/main" id="{10ECF129-C94D-4F74-8E10-D7628608A908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73" name="9">
              <a:extLst>
                <a:ext uri="{FF2B5EF4-FFF2-40B4-BE49-F238E27FC236}">
                  <a16:creationId xmlns:a16="http://schemas.microsoft.com/office/drawing/2014/main" id="{8FC97F6E-9750-47E8-9FE6-908E9756DB13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79" name="9">
              <a:extLst>
                <a:ext uri="{FF2B5EF4-FFF2-40B4-BE49-F238E27FC236}">
                  <a16:creationId xmlns:a16="http://schemas.microsoft.com/office/drawing/2014/main" id="{B28F7FB1-64C4-4E85-A89D-3E3680B69123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380" name="9">
              <a:extLst>
                <a:ext uri="{FF2B5EF4-FFF2-40B4-BE49-F238E27FC236}">
                  <a16:creationId xmlns:a16="http://schemas.microsoft.com/office/drawing/2014/main" id="{732F1641-A79D-401B-893D-82D62F6119C2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381" name="9">
            <a:extLst>
              <a:ext uri="{FF2B5EF4-FFF2-40B4-BE49-F238E27FC236}">
                <a16:creationId xmlns:a16="http://schemas.microsoft.com/office/drawing/2014/main" id="{1594A049-CB16-40B7-A289-C9E689F637FA}"/>
              </a:ext>
            </a:extLst>
          </p:cNvPr>
          <p:cNvSpPr txBox="1"/>
          <p:nvPr/>
        </p:nvSpPr>
        <p:spPr>
          <a:xfrm>
            <a:off x="21345568" y="88987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382" name="9">
            <a:extLst>
              <a:ext uri="{FF2B5EF4-FFF2-40B4-BE49-F238E27FC236}">
                <a16:creationId xmlns:a16="http://schemas.microsoft.com/office/drawing/2014/main" id="{C5058441-0CD2-4B17-9850-2195F4B590BB}"/>
              </a:ext>
            </a:extLst>
          </p:cNvPr>
          <p:cNvSpPr txBox="1"/>
          <p:nvPr/>
        </p:nvSpPr>
        <p:spPr>
          <a:xfrm>
            <a:off x="13069702" y="77590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383" name="9">
            <a:extLst>
              <a:ext uri="{FF2B5EF4-FFF2-40B4-BE49-F238E27FC236}">
                <a16:creationId xmlns:a16="http://schemas.microsoft.com/office/drawing/2014/main" id="{5DECE62A-A728-495F-B588-B382BF5D3E05}"/>
              </a:ext>
            </a:extLst>
          </p:cNvPr>
          <p:cNvSpPr txBox="1"/>
          <p:nvPr/>
        </p:nvSpPr>
        <p:spPr>
          <a:xfrm>
            <a:off x="13069702" y="68929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384" name="9">
            <a:extLst>
              <a:ext uri="{FF2B5EF4-FFF2-40B4-BE49-F238E27FC236}">
                <a16:creationId xmlns:a16="http://schemas.microsoft.com/office/drawing/2014/main" id="{12B630DA-9E55-4749-9311-22A08AB3FB51}"/>
              </a:ext>
            </a:extLst>
          </p:cNvPr>
          <p:cNvSpPr txBox="1"/>
          <p:nvPr/>
        </p:nvSpPr>
        <p:spPr>
          <a:xfrm>
            <a:off x="13095732" y="59592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385" name="9">
            <a:extLst>
              <a:ext uri="{FF2B5EF4-FFF2-40B4-BE49-F238E27FC236}">
                <a16:creationId xmlns:a16="http://schemas.microsoft.com/office/drawing/2014/main" id="{A0644EAE-C12A-4A30-BB14-D73DDDEEBF68}"/>
              </a:ext>
            </a:extLst>
          </p:cNvPr>
          <p:cNvSpPr txBox="1"/>
          <p:nvPr/>
        </p:nvSpPr>
        <p:spPr>
          <a:xfrm>
            <a:off x="13095732" y="50925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386" name="Table 385">
            <a:extLst>
              <a:ext uri="{FF2B5EF4-FFF2-40B4-BE49-F238E27FC236}">
                <a16:creationId xmlns:a16="http://schemas.microsoft.com/office/drawing/2014/main" id="{3AE1D6FB-9958-413D-955F-6F9DC9AC3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59406"/>
              </p:ext>
            </p:extLst>
          </p:nvPr>
        </p:nvGraphicFramePr>
        <p:xfrm>
          <a:off x="16787436" y="9299278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387" name="9">
            <a:extLst>
              <a:ext uri="{FF2B5EF4-FFF2-40B4-BE49-F238E27FC236}">
                <a16:creationId xmlns:a16="http://schemas.microsoft.com/office/drawing/2014/main" id="{44C50698-6DD7-400D-959D-522338FB40A4}"/>
              </a:ext>
            </a:extLst>
          </p:cNvPr>
          <p:cNvSpPr txBox="1"/>
          <p:nvPr/>
        </p:nvSpPr>
        <p:spPr>
          <a:xfrm>
            <a:off x="16604782" y="93638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88" name="9">
            <a:extLst>
              <a:ext uri="{FF2B5EF4-FFF2-40B4-BE49-F238E27FC236}">
                <a16:creationId xmlns:a16="http://schemas.microsoft.com/office/drawing/2014/main" id="{24571C84-4D99-4759-846A-F177A1E02F73}"/>
              </a:ext>
            </a:extLst>
          </p:cNvPr>
          <p:cNvSpPr txBox="1"/>
          <p:nvPr/>
        </p:nvSpPr>
        <p:spPr>
          <a:xfrm>
            <a:off x="16604782" y="96597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92" name="9">
            <a:extLst>
              <a:ext uri="{FF2B5EF4-FFF2-40B4-BE49-F238E27FC236}">
                <a16:creationId xmlns:a16="http://schemas.microsoft.com/office/drawing/2014/main" id="{B7860FA6-2DD3-451A-A92A-C972431C5387}"/>
              </a:ext>
            </a:extLst>
          </p:cNvPr>
          <p:cNvSpPr txBox="1"/>
          <p:nvPr/>
        </p:nvSpPr>
        <p:spPr>
          <a:xfrm>
            <a:off x="16604782" y="99642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393" name="9">
            <a:extLst>
              <a:ext uri="{FF2B5EF4-FFF2-40B4-BE49-F238E27FC236}">
                <a16:creationId xmlns:a16="http://schemas.microsoft.com/office/drawing/2014/main" id="{929B1461-39D6-4FC1-B1C4-A360A9D28588}"/>
              </a:ext>
            </a:extLst>
          </p:cNvPr>
          <p:cNvSpPr txBox="1"/>
          <p:nvPr/>
        </p:nvSpPr>
        <p:spPr>
          <a:xfrm>
            <a:off x="22398736" y="8904747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sp>
        <p:nvSpPr>
          <p:cNvPr id="400" name="9">
            <a:extLst>
              <a:ext uri="{FF2B5EF4-FFF2-40B4-BE49-F238E27FC236}">
                <a16:creationId xmlns:a16="http://schemas.microsoft.com/office/drawing/2014/main" id="{963850EE-C2F8-4BDE-A07F-31D1CCC7E4D7}"/>
              </a:ext>
            </a:extLst>
          </p:cNvPr>
          <p:cNvSpPr txBox="1"/>
          <p:nvPr/>
        </p:nvSpPr>
        <p:spPr>
          <a:xfrm>
            <a:off x="2225334" y="4159683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401" name="9">
            <a:extLst>
              <a:ext uri="{FF2B5EF4-FFF2-40B4-BE49-F238E27FC236}">
                <a16:creationId xmlns:a16="http://schemas.microsoft.com/office/drawing/2014/main" id="{FAD06DF5-4A60-4418-A149-1310D897AEB5}"/>
              </a:ext>
            </a:extLst>
          </p:cNvPr>
          <p:cNvSpPr txBox="1"/>
          <p:nvPr/>
        </p:nvSpPr>
        <p:spPr>
          <a:xfrm>
            <a:off x="2322369" y="5292500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cxnSp>
        <p:nvCxnSpPr>
          <p:cNvPr id="402" name="Gerade Verbindung 347">
            <a:extLst>
              <a:ext uri="{FF2B5EF4-FFF2-40B4-BE49-F238E27FC236}">
                <a16:creationId xmlns:a16="http://schemas.microsoft.com/office/drawing/2014/main" id="{73310381-F1A6-45A1-87B2-D66D806C8B35}"/>
              </a:ext>
            </a:extLst>
          </p:cNvPr>
          <p:cNvCxnSpPr>
            <a:cxnSpLocks/>
          </p:cNvCxnSpPr>
          <p:nvPr/>
        </p:nvCxnSpPr>
        <p:spPr>
          <a:xfrm flipH="1">
            <a:off x="2380554" y="525966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Gerade Verbindung 347">
            <a:extLst>
              <a:ext uri="{FF2B5EF4-FFF2-40B4-BE49-F238E27FC236}">
                <a16:creationId xmlns:a16="http://schemas.microsoft.com/office/drawing/2014/main" id="{AA013841-A1D9-40A2-85DB-1596B2872DC0}"/>
              </a:ext>
            </a:extLst>
          </p:cNvPr>
          <p:cNvCxnSpPr>
            <a:cxnSpLocks/>
          </p:cNvCxnSpPr>
          <p:nvPr/>
        </p:nvCxnSpPr>
        <p:spPr>
          <a:xfrm flipH="1">
            <a:off x="2380554" y="6128244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Gerade Verbindung 347">
            <a:extLst>
              <a:ext uri="{FF2B5EF4-FFF2-40B4-BE49-F238E27FC236}">
                <a16:creationId xmlns:a16="http://schemas.microsoft.com/office/drawing/2014/main" id="{E6E34BCF-8212-469B-B77E-8E79110FBEBD}"/>
              </a:ext>
            </a:extLst>
          </p:cNvPr>
          <p:cNvCxnSpPr>
            <a:cxnSpLocks/>
          </p:cNvCxnSpPr>
          <p:nvPr/>
        </p:nvCxnSpPr>
        <p:spPr>
          <a:xfrm flipH="1">
            <a:off x="2380554" y="7060012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Gerade Verbindung 347">
            <a:extLst>
              <a:ext uri="{FF2B5EF4-FFF2-40B4-BE49-F238E27FC236}">
                <a16:creationId xmlns:a16="http://schemas.microsoft.com/office/drawing/2014/main" id="{83B76A92-18D1-413B-B635-CEE47073E2AF}"/>
              </a:ext>
            </a:extLst>
          </p:cNvPr>
          <p:cNvCxnSpPr>
            <a:cxnSpLocks/>
          </p:cNvCxnSpPr>
          <p:nvPr/>
        </p:nvCxnSpPr>
        <p:spPr>
          <a:xfrm flipH="1">
            <a:off x="2380554" y="7926670"/>
            <a:ext cx="8734056" cy="0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6" name="Rechteck 62">
            <a:extLst>
              <a:ext uri="{FF2B5EF4-FFF2-40B4-BE49-F238E27FC236}">
                <a16:creationId xmlns:a16="http://schemas.microsoft.com/office/drawing/2014/main" id="{1390EE3D-0A0F-4DFB-80EF-AAAD1FB98D5A}"/>
              </a:ext>
            </a:extLst>
          </p:cNvPr>
          <p:cNvSpPr/>
          <p:nvPr/>
        </p:nvSpPr>
        <p:spPr>
          <a:xfrm>
            <a:off x="5789" y="3557573"/>
            <a:ext cx="11108820" cy="557402"/>
          </a:xfrm>
          <a:prstGeom prst="rect">
            <a:avLst/>
          </a:prstGeom>
          <a:solidFill>
            <a:srgbClr val="00619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07" name="Risk Hazard Group">
            <a:extLst>
              <a:ext uri="{FF2B5EF4-FFF2-40B4-BE49-F238E27FC236}">
                <a16:creationId xmlns:a16="http://schemas.microsoft.com/office/drawing/2014/main" id="{DE3F932D-42D6-4581-ABD1-B2D463BBF6F8}"/>
              </a:ext>
            </a:extLst>
          </p:cNvPr>
          <p:cNvSpPr txBox="1"/>
          <p:nvPr/>
        </p:nvSpPr>
        <p:spPr>
          <a:xfrm>
            <a:off x="95426" y="3689218"/>
            <a:ext cx="4974434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1400">
                <a:solidFill>
                  <a:srgbClr val="FFFFFF"/>
                </a:solidFill>
              </a:defRPr>
            </a:lvl1pPr>
          </a:lstStyle>
          <a:p>
            <a:r>
              <a:rPr lang="de-DE"/>
              <a:t>PROPERTY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Insured</a:t>
            </a:r>
            <a:r>
              <a:rPr lang="de-DE"/>
              <a:t> Distribution</a:t>
            </a:r>
          </a:p>
        </p:txBody>
      </p:sp>
      <p:sp>
        <p:nvSpPr>
          <p:cNvPr id="408" name="9">
            <a:extLst>
              <a:ext uri="{FF2B5EF4-FFF2-40B4-BE49-F238E27FC236}">
                <a16:creationId xmlns:a16="http://schemas.microsoft.com/office/drawing/2014/main" id="{9174CE1B-2300-4560-8A78-13A550D6D74D}"/>
              </a:ext>
            </a:extLst>
          </p:cNvPr>
          <p:cNvSpPr txBox="1"/>
          <p:nvPr/>
        </p:nvSpPr>
        <p:spPr>
          <a:xfrm>
            <a:off x="796229" y="4868256"/>
            <a:ext cx="1399415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grpSp>
        <p:nvGrpSpPr>
          <p:cNvPr id="409" name="Gruppieren 345">
            <a:extLst>
              <a:ext uri="{FF2B5EF4-FFF2-40B4-BE49-F238E27FC236}">
                <a16:creationId xmlns:a16="http://schemas.microsoft.com/office/drawing/2014/main" id="{273C2B6E-D1CD-4E55-84B0-E85EB0A3C8E0}"/>
              </a:ext>
            </a:extLst>
          </p:cNvPr>
          <p:cNvGrpSpPr/>
          <p:nvPr/>
        </p:nvGrpSpPr>
        <p:grpSpPr>
          <a:xfrm>
            <a:off x="7843371" y="5541582"/>
            <a:ext cx="898623" cy="3221696"/>
            <a:chOff x="4630720" y="4527741"/>
            <a:chExt cx="898623" cy="3528900"/>
          </a:xfrm>
        </p:grpSpPr>
        <p:sp>
          <p:nvSpPr>
            <p:cNvPr id="410" name="9">
              <a:extLst>
                <a:ext uri="{FF2B5EF4-FFF2-40B4-BE49-F238E27FC236}">
                  <a16:creationId xmlns:a16="http://schemas.microsoft.com/office/drawing/2014/main" id="{D145B64D-C543-40AE-A083-FEB7EB8E1801}"/>
                </a:ext>
              </a:extLst>
            </p:cNvPr>
            <p:cNvSpPr txBox="1"/>
            <p:nvPr/>
          </p:nvSpPr>
          <p:spPr>
            <a:xfrm>
              <a:off x="4643855" y="7098582"/>
              <a:ext cx="885487" cy="958059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11" name="9">
              <a:extLst>
                <a:ext uri="{FF2B5EF4-FFF2-40B4-BE49-F238E27FC236}">
                  <a16:creationId xmlns:a16="http://schemas.microsoft.com/office/drawing/2014/main" id="{B66403F3-EB9F-4ACE-B477-33D234BBF8C0}"/>
                </a:ext>
              </a:extLst>
            </p:cNvPr>
            <p:cNvSpPr txBox="1"/>
            <p:nvPr/>
          </p:nvSpPr>
          <p:spPr>
            <a:xfrm rot="5400000">
              <a:off x="4852186" y="6419825"/>
              <a:ext cx="455689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12" name="9">
              <a:extLst>
                <a:ext uri="{FF2B5EF4-FFF2-40B4-BE49-F238E27FC236}">
                  <a16:creationId xmlns:a16="http://schemas.microsoft.com/office/drawing/2014/main" id="{C2CB22F5-74B3-49C8-B9CE-FD069B3DFB21}"/>
                </a:ext>
              </a:extLst>
            </p:cNvPr>
            <p:cNvSpPr txBox="1"/>
            <p:nvPr/>
          </p:nvSpPr>
          <p:spPr>
            <a:xfrm>
              <a:off x="4630722" y="5804725"/>
              <a:ext cx="898621" cy="834962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13" name="9">
              <a:extLst>
                <a:ext uri="{FF2B5EF4-FFF2-40B4-BE49-F238E27FC236}">
                  <a16:creationId xmlns:a16="http://schemas.microsoft.com/office/drawing/2014/main" id="{B9B6C4F4-3C27-4264-B609-511A20D8F7A0}"/>
                </a:ext>
              </a:extLst>
            </p:cNvPr>
            <p:cNvSpPr txBox="1"/>
            <p:nvPr/>
          </p:nvSpPr>
          <p:spPr>
            <a:xfrm>
              <a:off x="4630722" y="4527741"/>
              <a:ext cx="898621" cy="1281557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cxnSp>
        <p:nvCxnSpPr>
          <p:cNvPr id="414" name="Gerade Verbindung 347">
            <a:extLst>
              <a:ext uri="{FF2B5EF4-FFF2-40B4-BE49-F238E27FC236}">
                <a16:creationId xmlns:a16="http://schemas.microsoft.com/office/drawing/2014/main" id="{F95359CA-EF24-4D5B-8014-D955B27051DA}"/>
              </a:ext>
            </a:extLst>
          </p:cNvPr>
          <p:cNvCxnSpPr/>
          <p:nvPr/>
        </p:nvCxnSpPr>
        <p:spPr>
          <a:xfrm>
            <a:off x="2380554" y="4868256"/>
            <a:ext cx="0" cy="3938353"/>
          </a:xfrm>
          <a:prstGeom prst="line">
            <a:avLst/>
          </a:prstGeom>
          <a:ln>
            <a:solidFill>
              <a:srgbClr val="5A526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Gerade Verbindung mit Pfeil 353">
            <a:extLst>
              <a:ext uri="{FF2B5EF4-FFF2-40B4-BE49-F238E27FC236}">
                <a16:creationId xmlns:a16="http://schemas.microsoft.com/office/drawing/2014/main" id="{3463CCBE-501D-4B73-9F2E-08E2EB631C2E}"/>
              </a:ext>
            </a:extLst>
          </p:cNvPr>
          <p:cNvCxnSpPr>
            <a:cxnSpLocks/>
          </p:cNvCxnSpPr>
          <p:nvPr/>
        </p:nvCxnSpPr>
        <p:spPr>
          <a:xfrm>
            <a:off x="2380554" y="8806609"/>
            <a:ext cx="8791153" cy="0"/>
          </a:xfrm>
          <a:prstGeom prst="straightConnector1">
            <a:avLst/>
          </a:prstGeom>
          <a:ln>
            <a:solidFill>
              <a:srgbClr val="5A526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6" name="Rechteck 354">
            <a:extLst>
              <a:ext uri="{FF2B5EF4-FFF2-40B4-BE49-F238E27FC236}">
                <a16:creationId xmlns:a16="http://schemas.microsoft.com/office/drawing/2014/main" id="{4CAEEE3B-AC8D-4758-9FCF-14941BB50C9F}"/>
              </a:ext>
            </a:extLst>
          </p:cNvPr>
          <p:cNvSpPr/>
          <p:nvPr/>
        </p:nvSpPr>
        <p:spPr>
          <a:xfrm>
            <a:off x="53920" y="4062895"/>
            <a:ext cx="11108819" cy="6790139"/>
          </a:xfrm>
          <a:prstGeom prst="rect">
            <a:avLst/>
          </a:prstGeom>
          <a:noFill/>
          <a:ln w="3175" cap="flat">
            <a:solidFill>
              <a:srgbClr val="5A5260">
                <a:alpha val="20000"/>
              </a:srgb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17" name="9">
            <a:extLst>
              <a:ext uri="{FF2B5EF4-FFF2-40B4-BE49-F238E27FC236}">
                <a16:creationId xmlns:a16="http://schemas.microsoft.com/office/drawing/2014/main" id="{391AF1C9-CC55-4B07-B012-AE0C5D4E6112}"/>
              </a:ext>
            </a:extLst>
          </p:cNvPr>
          <p:cNvSpPr txBox="1"/>
          <p:nvPr/>
        </p:nvSpPr>
        <p:spPr>
          <a:xfrm>
            <a:off x="744667" y="5919626"/>
            <a:ext cx="1462817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de-DE"/>
              <a:t>…</a:t>
            </a:r>
            <a:endParaRPr/>
          </a:p>
        </p:txBody>
      </p:sp>
      <p:grpSp>
        <p:nvGrpSpPr>
          <p:cNvPr id="418" name="Gruppieren 345">
            <a:extLst>
              <a:ext uri="{FF2B5EF4-FFF2-40B4-BE49-F238E27FC236}">
                <a16:creationId xmlns:a16="http://schemas.microsoft.com/office/drawing/2014/main" id="{3E6E8B95-1581-4C00-9D20-52C4F22660BD}"/>
              </a:ext>
            </a:extLst>
          </p:cNvPr>
          <p:cNvGrpSpPr/>
          <p:nvPr/>
        </p:nvGrpSpPr>
        <p:grpSpPr>
          <a:xfrm>
            <a:off x="2947885" y="6774024"/>
            <a:ext cx="898623" cy="1989145"/>
            <a:chOff x="4630720" y="5877816"/>
            <a:chExt cx="898623" cy="2178824"/>
          </a:xfrm>
        </p:grpSpPr>
        <p:sp>
          <p:nvSpPr>
            <p:cNvPr id="419" name="9">
              <a:extLst>
                <a:ext uri="{FF2B5EF4-FFF2-40B4-BE49-F238E27FC236}">
                  <a16:creationId xmlns:a16="http://schemas.microsoft.com/office/drawing/2014/main" id="{2880AC39-9ED6-489F-9777-B1EDD9B300FC}"/>
                </a:ext>
              </a:extLst>
            </p:cNvPr>
            <p:cNvSpPr txBox="1"/>
            <p:nvPr/>
          </p:nvSpPr>
          <p:spPr>
            <a:xfrm>
              <a:off x="4643855" y="7368243"/>
              <a:ext cx="885487" cy="688397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0" name="9">
              <a:extLst>
                <a:ext uri="{FF2B5EF4-FFF2-40B4-BE49-F238E27FC236}">
                  <a16:creationId xmlns:a16="http://schemas.microsoft.com/office/drawing/2014/main" id="{6FEEC718-9B8E-4ECF-B63A-0887CDF32266}"/>
                </a:ext>
              </a:extLst>
            </p:cNvPr>
            <p:cNvSpPr txBox="1"/>
            <p:nvPr/>
          </p:nvSpPr>
          <p:spPr>
            <a:xfrm rot="5400000">
              <a:off x="5008737" y="6849174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1" name="9">
              <a:extLst>
                <a:ext uri="{FF2B5EF4-FFF2-40B4-BE49-F238E27FC236}">
                  <a16:creationId xmlns:a16="http://schemas.microsoft.com/office/drawing/2014/main" id="{4BD7D50E-CFAD-4835-80EB-1E566C5C249C}"/>
                </a:ext>
              </a:extLst>
            </p:cNvPr>
            <p:cNvSpPr txBox="1"/>
            <p:nvPr/>
          </p:nvSpPr>
          <p:spPr>
            <a:xfrm>
              <a:off x="4630722" y="6741446"/>
              <a:ext cx="898621" cy="48595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2" name="9">
              <a:extLst>
                <a:ext uri="{FF2B5EF4-FFF2-40B4-BE49-F238E27FC236}">
                  <a16:creationId xmlns:a16="http://schemas.microsoft.com/office/drawing/2014/main" id="{3BDF6372-7B36-40B6-A1F8-A5BCC722E07D}"/>
                </a:ext>
              </a:extLst>
            </p:cNvPr>
            <p:cNvSpPr txBox="1"/>
            <p:nvPr/>
          </p:nvSpPr>
          <p:spPr>
            <a:xfrm>
              <a:off x="4630722" y="5877816"/>
              <a:ext cx="898621" cy="8650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423" name="9">
            <a:extLst>
              <a:ext uri="{FF2B5EF4-FFF2-40B4-BE49-F238E27FC236}">
                <a16:creationId xmlns:a16="http://schemas.microsoft.com/office/drawing/2014/main" id="{B9043133-5C38-416A-8A49-529D3B51D111}"/>
              </a:ext>
            </a:extLst>
          </p:cNvPr>
          <p:cNvSpPr txBox="1"/>
          <p:nvPr/>
        </p:nvSpPr>
        <p:spPr>
          <a:xfrm>
            <a:off x="3086742" y="895900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8</a:t>
            </a:r>
            <a:endParaRPr/>
          </a:p>
        </p:txBody>
      </p:sp>
      <p:grpSp>
        <p:nvGrpSpPr>
          <p:cNvPr id="424" name="Gruppieren 345">
            <a:extLst>
              <a:ext uri="{FF2B5EF4-FFF2-40B4-BE49-F238E27FC236}">
                <a16:creationId xmlns:a16="http://schemas.microsoft.com/office/drawing/2014/main" id="{E5D866B8-6180-4A77-BCFD-222FA30960CA}"/>
              </a:ext>
            </a:extLst>
          </p:cNvPr>
          <p:cNvGrpSpPr/>
          <p:nvPr/>
        </p:nvGrpSpPr>
        <p:grpSpPr>
          <a:xfrm>
            <a:off x="4548138" y="6390977"/>
            <a:ext cx="898623" cy="2372312"/>
            <a:chOff x="4630720" y="5710885"/>
            <a:chExt cx="898623" cy="2345755"/>
          </a:xfrm>
        </p:grpSpPr>
        <p:sp>
          <p:nvSpPr>
            <p:cNvPr id="425" name="9">
              <a:extLst>
                <a:ext uri="{FF2B5EF4-FFF2-40B4-BE49-F238E27FC236}">
                  <a16:creationId xmlns:a16="http://schemas.microsoft.com/office/drawing/2014/main" id="{93D9EE40-6035-46DE-96F1-A9BFB221882C}"/>
                </a:ext>
              </a:extLst>
            </p:cNvPr>
            <p:cNvSpPr txBox="1"/>
            <p:nvPr/>
          </p:nvSpPr>
          <p:spPr>
            <a:xfrm>
              <a:off x="4643855" y="7299889"/>
              <a:ext cx="885487" cy="756751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6" name="9">
              <a:extLst>
                <a:ext uri="{FF2B5EF4-FFF2-40B4-BE49-F238E27FC236}">
                  <a16:creationId xmlns:a16="http://schemas.microsoft.com/office/drawing/2014/main" id="{D1831185-26DC-42DC-B0BB-F34EE89C2CE2}"/>
                </a:ext>
              </a:extLst>
            </p:cNvPr>
            <p:cNvSpPr txBox="1"/>
            <p:nvPr/>
          </p:nvSpPr>
          <p:spPr>
            <a:xfrm rot="5400000">
              <a:off x="5008737" y="6776141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7" name="9">
              <a:extLst>
                <a:ext uri="{FF2B5EF4-FFF2-40B4-BE49-F238E27FC236}">
                  <a16:creationId xmlns:a16="http://schemas.microsoft.com/office/drawing/2014/main" id="{843546E0-EF6B-44A8-A7B0-6157A942E881}"/>
                </a:ext>
              </a:extLst>
            </p:cNvPr>
            <p:cNvSpPr txBox="1"/>
            <p:nvPr/>
          </p:nvSpPr>
          <p:spPr>
            <a:xfrm>
              <a:off x="4630722" y="6618974"/>
              <a:ext cx="898621" cy="535398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28" name="9">
              <a:extLst>
                <a:ext uri="{FF2B5EF4-FFF2-40B4-BE49-F238E27FC236}">
                  <a16:creationId xmlns:a16="http://schemas.microsoft.com/office/drawing/2014/main" id="{59AAF38D-2726-40D2-9235-F2A5ABE5F3C4}"/>
                </a:ext>
              </a:extLst>
            </p:cNvPr>
            <p:cNvSpPr txBox="1"/>
            <p:nvPr/>
          </p:nvSpPr>
          <p:spPr>
            <a:xfrm>
              <a:off x="4630722" y="5710885"/>
              <a:ext cx="898621" cy="908083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429" name="9">
            <a:extLst>
              <a:ext uri="{FF2B5EF4-FFF2-40B4-BE49-F238E27FC236}">
                <a16:creationId xmlns:a16="http://schemas.microsoft.com/office/drawing/2014/main" id="{0A5756AA-3104-49B7-AEFB-25D3A4F0F807}"/>
              </a:ext>
            </a:extLst>
          </p:cNvPr>
          <p:cNvSpPr txBox="1"/>
          <p:nvPr/>
        </p:nvSpPr>
        <p:spPr>
          <a:xfrm>
            <a:off x="4667227" y="8967514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19</a:t>
            </a:r>
            <a:endParaRPr/>
          </a:p>
        </p:txBody>
      </p:sp>
      <p:grpSp>
        <p:nvGrpSpPr>
          <p:cNvPr id="430" name="Gruppieren 345">
            <a:extLst>
              <a:ext uri="{FF2B5EF4-FFF2-40B4-BE49-F238E27FC236}">
                <a16:creationId xmlns:a16="http://schemas.microsoft.com/office/drawing/2014/main" id="{F2CF479E-03F0-49C4-9583-2686BDEB58F8}"/>
              </a:ext>
            </a:extLst>
          </p:cNvPr>
          <p:cNvGrpSpPr/>
          <p:nvPr/>
        </p:nvGrpSpPr>
        <p:grpSpPr>
          <a:xfrm>
            <a:off x="6179976" y="6116105"/>
            <a:ext cx="898623" cy="2647067"/>
            <a:chOff x="4630720" y="5157159"/>
            <a:chExt cx="898623" cy="2899481"/>
          </a:xfrm>
        </p:grpSpPr>
        <p:sp>
          <p:nvSpPr>
            <p:cNvPr id="431" name="9">
              <a:extLst>
                <a:ext uri="{FF2B5EF4-FFF2-40B4-BE49-F238E27FC236}">
                  <a16:creationId xmlns:a16="http://schemas.microsoft.com/office/drawing/2014/main" id="{3BDB0B1D-F1BF-4598-93D3-CC1EB653A9F5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32" name="9">
              <a:extLst>
                <a:ext uri="{FF2B5EF4-FFF2-40B4-BE49-F238E27FC236}">
                  <a16:creationId xmlns:a16="http://schemas.microsoft.com/office/drawing/2014/main" id="{1E3D2495-6DA4-4B0C-88E6-5FADB5756CC4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33" name="9">
              <a:extLst>
                <a:ext uri="{FF2B5EF4-FFF2-40B4-BE49-F238E27FC236}">
                  <a16:creationId xmlns:a16="http://schemas.microsoft.com/office/drawing/2014/main" id="{B94279BC-3CDC-470C-9C88-88E8546AE8DE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34" name="9">
              <a:extLst>
                <a:ext uri="{FF2B5EF4-FFF2-40B4-BE49-F238E27FC236}">
                  <a16:creationId xmlns:a16="http://schemas.microsoft.com/office/drawing/2014/main" id="{B90926F1-D8BF-44C7-82F3-C05F3760ED81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435" name="9">
            <a:extLst>
              <a:ext uri="{FF2B5EF4-FFF2-40B4-BE49-F238E27FC236}">
                <a16:creationId xmlns:a16="http://schemas.microsoft.com/office/drawing/2014/main" id="{E4CAC76F-2D66-4139-8ACF-8722F3870BDB}"/>
              </a:ext>
            </a:extLst>
          </p:cNvPr>
          <p:cNvSpPr txBox="1"/>
          <p:nvPr/>
        </p:nvSpPr>
        <p:spPr>
          <a:xfrm>
            <a:off x="6306350" y="8952918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0</a:t>
            </a:r>
          </a:p>
        </p:txBody>
      </p:sp>
      <p:sp>
        <p:nvSpPr>
          <p:cNvPr id="436" name="9">
            <a:extLst>
              <a:ext uri="{FF2B5EF4-FFF2-40B4-BE49-F238E27FC236}">
                <a16:creationId xmlns:a16="http://schemas.microsoft.com/office/drawing/2014/main" id="{5DA4B6D2-6E26-4FD1-844A-E240DB52C944}"/>
              </a:ext>
            </a:extLst>
          </p:cNvPr>
          <p:cNvSpPr txBox="1"/>
          <p:nvPr/>
        </p:nvSpPr>
        <p:spPr>
          <a:xfrm>
            <a:off x="7996846" y="8924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1</a:t>
            </a:r>
          </a:p>
        </p:txBody>
      </p:sp>
      <p:grpSp>
        <p:nvGrpSpPr>
          <p:cNvPr id="437" name="Gruppieren 345">
            <a:extLst>
              <a:ext uri="{FF2B5EF4-FFF2-40B4-BE49-F238E27FC236}">
                <a16:creationId xmlns:a16="http://schemas.microsoft.com/office/drawing/2014/main" id="{DBEBF1A1-D731-4DCA-B5D7-524387F8F528}"/>
              </a:ext>
            </a:extLst>
          </p:cNvPr>
          <p:cNvGrpSpPr/>
          <p:nvPr/>
        </p:nvGrpSpPr>
        <p:grpSpPr>
          <a:xfrm>
            <a:off x="9490962" y="6116105"/>
            <a:ext cx="898623" cy="2647067"/>
            <a:chOff x="4630720" y="5157159"/>
            <a:chExt cx="898623" cy="2899481"/>
          </a:xfrm>
        </p:grpSpPr>
        <p:sp>
          <p:nvSpPr>
            <p:cNvPr id="438" name="9">
              <a:extLst>
                <a:ext uri="{FF2B5EF4-FFF2-40B4-BE49-F238E27FC236}">
                  <a16:creationId xmlns:a16="http://schemas.microsoft.com/office/drawing/2014/main" id="{FD9314A9-21E0-4970-A793-393538033ED7}"/>
                </a:ext>
              </a:extLst>
            </p:cNvPr>
            <p:cNvSpPr txBox="1"/>
            <p:nvPr/>
          </p:nvSpPr>
          <p:spPr>
            <a:xfrm>
              <a:off x="4643855" y="7201825"/>
              <a:ext cx="885487" cy="854815"/>
            </a:xfrm>
            <a:prstGeom prst="rect">
              <a:avLst/>
            </a:prstGeom>
            <a:solidFill>
              <a:srgbClr val="007AB2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39" name="9">
              <a:extLst>
                <a:ext uri="{FF2B5EF4-FFF2-40B4-BE49-F238E27FC236}">
                  <a16:creationId xmlns:a16="http://schemas.microsoft.com/office/drawing/2014/main" id="{7FEB35D7-53C9-4C79-B302-5E991F853697}"/>
                </a:ext>
              </a:extLst>
            </p:cNvPr>
            <p:cNvSpPr txBox="1"/>
            <p:nvPr/>
          </p:nvSpPr>
          <p:spPr>
            <a:xfrm rot="5400000">
              <a:off x="5008737" y="6682242"/>
              <a:ext cx="142588" cy="898622"/>
            </a:xfrm>
            <a:prstGeom prst="rect">
              <a:avLst/>
            </a:prstGeom>
            <a:solidFill>
              <a:srgbClr val="FED25C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40" name="9">
              <a:extLst>
                <a:ext uri="{FF2B5EF4-FFF2-40B4-BE49-F238E27FC236}">
                  <a16:creationId xmlns:a16="http://schemas.microsoft.com/office/drawing/2014/main" id="{2129F1ED-0B17-4B8C-84BA-F9A633E9A08C}"/>
                </a:ext>
              </a:extLst>
            </p:cNvPr>
            <p:cNvSpPr txBox="1"/>
            <p:nvPr/>
          </p:nvSpPr>
          <p:spPr>
            <a:xfrm>
              <a:off x="4630722" y="6391829"/>
              <a:ext cx="898621" cy="668645"/>
            </a:xfrm>
            <a:prstGeom prst="rect">
              <a:avLst/>
            </a:prstGeom>
            <a:solidFill>
              <a:srgbClr val="EFCCD6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  <p:sp>
          <p:nvSpPr>
            <p:cNvPr id="441" name="9">
              <a:extLst>
                <a:ext uri="{FF2B5EF4-FFF2-40B4-BE49-F238E27FC236}">
                  <a16:creationId xmlns:a16="http://schemas.microsoft.com/office/drawing/2014/main" id="{2BBD93FD-22AB-47E3-BED4-E9182D611C4A}"/>
                </a:ext>
              </a:extLst>
            </p:cNvPr>
            <p:cNvSpPr txBox="1"/>
            <p:nvPr/>
          </p:nvSpPr>
          <p:spPr>
            <a:xfrm>
              <a:off x="4630722" y="5157159"/>
              <a:ext cx="898621" cy="1232272"/>
            </a:xfrm>
            <a:prstGeom prst="rect">
              <a:avLst/>
            </a:prstGeom>
            <a:solidFill>
              <a:srgbClr val="95DDFB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noAutofit/>
            </a:bodyPr>
            <a:lstStyle>
              <a:lvl1pPr algn="r">
                <a:defRPr sz="1200" b="0">
                  <a:solidFill>
                    <a:srgbClr val="5E5E5E"/>
                  </a:solidFill>
                </a:defRPr>
              </a:lvl1pPr>
            </a:lstStyle>
            <a:p>
              <a:endParaRPr/>
            </a:p>
          </p:txBody>
        </p:sp>
      </p:grpSp>
      <p:sp>
        <p:nvSpPr>
          <p:cNvPr id="442" name="9">
            <a:extLst>
              <a:ext uri="{FF2B5EF4-FFF2-40B4-BE49-F238E27FC236}">
                <a16:creationId xmlns:a16="http://schemas.microsoft.com/office/drawing/2014/main" id="{8219C5FC-AAEF-44F4-AB0D-B19E910EB386}"/>
              </a:ext>
            </a:extLst>
          </p:cNvPr>
          <p:cNvSpPr txBox="1"/>
          <p:nvPr/>
        </p:nvSpPr>
        <p:spPr>
          <a:xfrm>
            <a:off x="9610768" y="8924180"/>
            <a:ext cx="659008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22</a:t>
            </a:r>
          </a:p>
        </p:txBody>
      </p:sp>
      <p:sp>
        <p:nvSpPr>
          <p:cNvPr id="443" name="9">
            <a:extLst>
              <a:ext uri="{FF2B5EF4-FFF2-40B4-BE49-F238E27FC236}">
                <a16:creationId xmlns:a16="http://schemas.microsoft.com/office/drawing/2014/main" id="{55341E26-D790-4385-926E-B568AEA21B8D}"/>
              </a:ext>
            </a:extLst>
          </p:cNvPr>
          <p:cNvSpPr txBox="1"/>
          <p:nvPr/>
        </p:nvSpPr>
        <p:spPr>
          <a:xfrm>
            <a:off x="1334902" y="778440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100,000,000</a:t>
            </a:r>
            <a:endParaRPr/>
          </a:p>
        </p:txBody>
      </p:sp>
      <p:sp>
        <p:nvSpPr>
          <p:cNvPr id="444" name="9">
            <a:extLst>
              <a:ext uri="{FF2B5EF4-FFF2-40B4-BE49-F238E27FC236}">
                <a16:creationId xmlns:a16="http://schemas.microsoft.com/office/drawing/2014/main" id="{B71EB308-8CC1-4FB5-AF65-5B0753F5B801}"/>
              </a:ext>
            </a:extLst>
          </p:cNvPr>
          <p:cNvSpPr txBox="1"/>
          <p:nvPr/>
        </p:nvSpPr>
        <p:spPr>
          <a:xfrm>
            <a:off x="1334902" y="6918330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200,000,000</a:t>
            </a:r>
            <a:endParaRPr/>
          </a:p>
        </p:txBody>
      </p:sp>
      <p:sp>
        <p:nvSpPr>
          <p:cNvPr id="445" name="9">
            <a:extLst>
              <a:ext uri="{FF2B5EF4-FFF2-40B4-BE49-F238E27FC236}">
                <a16:creationId xmlns:a16="http://schemas.microsoft.com/office/drawing/2014/main" id="{FEFE5D59-9469-45F4-8B5E-30D8392F912D}"/>
              </a:ext>
            </a:extLst>
          </p:cNvPr>
          <p:cNvSpPr txBox="1"/>
          <p:nvPr/>
        </p:nvSpPr>
        <p:spPr>
          <a:xfrm>
            <a:off x="1360932" y="5984615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300,000,000</a:t>
            </a:r>
            <a:endParaRPr/>
          </a:p>
        </p:txBody>
      </p:sp>
      <p:sp>
        <p:nvSpPr>
          <p:cNvPr id="446" name="9">
            <a:extLst>
              <a:ext uri="{FF2B5EF4-FFF2-40B4-BE49-F238E27FC236}">
                <a16:creationId xmlns:a16="http://schemas.microsoft.com/office/drawing/2014/main" id="{7A9873D8-0E9F-4D5A-AE0E-D2E66C5AB111}"/>
              </a:ext>
            </a:extLst>
          </p:cNvPr>
          <p:cNvSpPr txBox="1"/>
          <p:nvPr/>
        </p:nvSpPr>
        <p:spPr>
          <a:xfrm>
            <a:off x="1360932" y="5117958"/>
            <a:ext cx="1020679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pPr algn="ctr"/>
            <a:r>
              <a:rPr lang="en-US"/>
              <a:t>400,000,000</a:t>
            </a:r>
            <a:endParaRPr/>
          </a:p>
        </p:txBody>
      </p:sp>
      <p:graphicFrame>
        <p:nvGraphicFramePr>
          <p:cNvPr id="447" name="Table 446">
            <a:extLst>
              <a:ext uri="{FF2B5EF4-FFF2-40B4-BE49-F238E27FC236}">
                <a16:creationId xmlns:a16="http://schemas.microsoft.com/office/drawing/2014/main" id="{AD312DB4-737E-4467-917F-DC9A709CA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3881"/>
              </p:ext>
            </p:extLst>
          </p:nvPr>
        </p:nvGraphicFramePr>
        <p:xfrm>
          <a:off x="5052636" y="9324678"/>
          <a:ext cx="3861728" cy="8975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61728">
                  <a:extLst>
                    <a:ext uri="{9D8B030D-6E8A-4147-A177-3AD203B41FA5}">
                      <a16:colId xmlns:a16="http://schemas.microsoft.com/office/drawing/2014/main" val="1125599422"/>
                    </a:ext>
                  </a:extLst>
                </a:gridCol>
              </a:tblGrid>
              <a:tr h="297442">
                <a:tc>
                  <a:txBody>
                    <a:bodyPr/>
                    <a:lstStyle/>
                    <a:p>
                      <a:pPr algn="l"/>
                      <a:r>
                        <a:rPr lang="de-DE" sz="1200"/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43603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/>
                        <a:t>Textile &amp; Tobacco MF-8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8056628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  <a:endParaRPr lang="de-DE" sz="12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0938"/>
                  </a:ext>
                </a:extLst>
              </a:tr>
            </a:tbl>
          </a:graphicData>
        </a:graphic>
      </p:graphicFrame>
      <p:sp>
        <p:nvSpPr>
          <p:cNvPr id="448" name="9">
            <a:extLst>
              <a:ext uri="{FF2B5EF4-FFF2-40B4-BE49-F238E27FC236}">
                <a16:creationId xmlns:a16="http://schemas.microsoft.com/office/drawing/2014/main" id="{81AB1610-30A6-4432-8004-78BAEA73990D}"/>
              </a:ext>
            </a:extLst>
          </p:cNvPr>
          <p:cNvSpPr txBox="1"/>
          <p:nvPr/>
        </p:nvSpPr>
        <p:spPr>
          <a:xfrm>
            <a:off x="4869982" y="9389249"/>
            <a:ext cx="150949" cy="183006"/>
          </a:xfrm>
          <a:prstGeom prst="rect">
            <a:avLst/>
          </a:prstGeom>
          <a:solidFill>
            <a:srgbClr val="95DDFB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449" name="9">
            <a:extLst>
              <a:ext uri="{FF2B5EF4-FFF2-40B4-BE49-F238E27FC236}">
                <a16:creationId xmlns:a16="http://schemas.microsoft.com/office/drawing/2014/main" id="{9FDFA2ED-134F-4F11-B51E-1A090B65ABA9}"/>
              </a:ext>
            </a:extLst>
          </p:cNvPr>
          <p:cNvSpPr txBox="1"/>
          <p:nvPr/>
        </p:nvSpPr>
        <p:spPr>
          <a:xfrm>
            <a:off x="4869982" y="9685105"/>
            <a:ext cx="150949" cy="182326"/>
          </a:xfrm>
          <a:prstGeom prst="rect">
            <a:avLst/>
          </a:prstGeom>
          <a:solidFill>
            <a:srgbClr val="EFCCD6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450" name="9">
            <a:extLst>
              <a:ext uri="{FF2B5EF4-FFF2-40B4-BE49-F238E27FC236}">
                <a16:creationId xmlns:a16="http://schemas.microsoft.com/office/drawing/2014/main" id="{DC6A49F9-736C-4BDE-A099-14D180CB06B5}"/>
              </a:ext>
            </a:extLst>
          </p:cNvPr>
          <p:cNvSpPr txBox="1"/>
          <p:nvPr/>
        </p:nvSpPr>
        <p:spPr>
          <a:xfrm>
            <a:off x="4869982" y="9989652"/>
            <a:ext cx="150949" cy="175980"/>
          </a:xfrm>
          <a:prstGeom prst="rect">
            <a:avLst/>
          </a:prstGeom>
          <a:solidFill>
            <a:srgbClr val="007AB2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no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endParaRPr/>
          </a:p>
        </p:txBody>
      </p:sp>
      <p:sp>
        <p:nvSpPr>
          <p:cNvPr id="451" name="9">
            <a:extLst>
              <a:ext uri="{FF2B5EF4-FFF2-40B4-BE49-F238E27FC236}">
                <a16:creationId xmlns:a16="http://schemas.microsoft.com/office/drawing/2014/main" id="{C5406D56-3924-4A44-A268-E1DC4E01D0B8}"/>
              </a:ext>
            </a:extLst>
          </p:cNvPr>
          <p:cNvSpPr txBox="1"/>
          <p:nvPr/>
        </p:nvSpPr>
        <p:spPr>
          <a:xfrm>
            <a:off x="10663936" y="8930147"/>
            <a:ext cx="1805871" cy="28725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>
              <a:defRPr sz="1200" b="0">
                <a:solidFill>
                  <a:srgbClr val="5E5E5E"/>
                </a:solidFill>
              </a:defRPr>
            </a:lvl1pPr>
          </a:lstStyle>
          <a:p>
            <a:r>
              <a:rPr lang="en-US"/>
              <a:t>U</a:t>
            </a:r>
            <a:r>
              <a:rPr lang="de-DE"/>
              <a:t>W year / Accident year</a:t>
            </a:r>
          </a:p>
        </p:txBody>
      </p:sp>
      <p:graphicFrame>
        <p:nvGraphicFramePr>
          <p:cNvPr id="458" name="Tabelle 258">
            <a:extLst>
              <a:ext uri="{FF2B5EF4-FFF2-40B4-BE49-F238E27FC236}">
                <a16:creationId xmlns:a16="http://schemas.microsoft.com/office/drawing/2014/main" id="{A01BD122-DF6D-46B4-8CC3-500F3559D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403521"/>
              </p:ext>
            </p:extLst>
          </p:nvPr>
        </p:nvGraphicFramePr>
        <p:xfrm>
          <a:off x="1091582" y="10446154"/>
          <a:ext cx="22165053" cy="30097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66436">
                  <a:extLst>
                    <a:ext uri="{9D8B030D-6E8A-4147-A177-3AD203B41FA5}">
                      <a16:colId xmlns:a16="http://schemas.microsoft.com/office/drawing/2014/main" val="1650408"/>
                    </a:ext>
                  </a:extLst>
                </a:gridCol>
                <a:gridCol w="3166436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3166436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3166436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3592286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3420477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2486546">
                  <a:extLst>
                    <a:ext uri="{9D8B030D-6E8A-4147-A177-3AD203B41FA5}">
                      <a16:colId xmlns:a16="http://schemas.microsoft.com/office/drawing/2014/main" val="2052991075"/>
                    </a:ext>
                  </a:extLst>
                </a:gridCol>
              </a:tblGrid>
              <a:tr h="459377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E</a:t>
                      </a: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Segm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 Clus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PolicyI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TSI 2018 (property only)</a:t>
                      </a:r>
                    </a:p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solidFill>
                            <a:schemeClr val="bg1"/>
                          </a:solidFill>
                          <a:latin typeface="Helvetica Neue Medium"/>
                        </a:rPr>
                        <a:t>mn EUR</a:t>
                      </a:r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>
                          <a:solidFill>
                            <a:schemeClr val="bg1"/>
                          </a:solidFill>
                        </a:rPr>
                        <a:t>Gross Limit 2018 (liability only)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400" b="0" i="0" u="none" strike="noStrike" noProof="0">
                          <a:solidFill>
                            <a:schemeClr val="bg1"/>
                          </a:solidFill>
                          <a:latin typeface="Helvetica Neue Medium"/>
                        </a:rPr>
                        <a:t>mn EUR</a:t>
                      </a:r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Food: Meat &amp; grocery MF-2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345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/Manufacturing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extile &amp; Tobacco MF-8 </a:t>
                      </a:r>
                    </a:p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45678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ZUK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i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n-</a:t>
                      </a:r>
                      <a:r>
                        <a:rPr lang="de-DE" sz="160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industry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890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4626122"/>
                  </a:ext>
                </a:extLst>
              </a:tr>
              <a:tr h="56635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90516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0549377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>
                <a:cs typeface="Arial"/>
              </a:rPr>
              <a:t>Customer Profile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B8AF8CC-DA56-08C0-5C26-26CF82FD383D}"/>
              </a:ext>
            </a:extLst>
          </p:cNvPr>
          <p:cNvSpPr txBox="1">
            <a:spLocks/>
          </p:cNvSpPr>
          <p:nvPr/>
        </p:nvSpPr>
        <p:spPr>
          <a:xfrm>
            <a:off x="3000450" y="4516321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9600" b="0">
                <a:cs typeface="Arial"/>
              </a:rPr>
              <a:t>Mockups</a:t>
            </a:r>
          </a:p>
        </p:txBody>
      </p:sp>
    </p:spTree>
    <p:extLst>
      <p:ext uri="{BB962C8B-B14F-4D97-AF65-F5344CB8AC3E}">
        <p14:creationId xmlns:p14="http://schemas.microsoft.com/office/powerpoint/2010/main" val="8458554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86E2EE8B-3B0E-968D-5CB0-E6173DB58A60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75" name="Screenshot 2021-09-03 at 19.26.14.png" descr="Screenshot 2021-09-03 at 19.26.14.png"/>
          <p:cNvPicPr>
            <a:picLocks noChangeAspect="1"/>
          </p:cNvPicPr>
          <p:nvPr/>
        </p:nvPicPr>
        <p:blipFill rotWithShape="1">
          <a:blip r:embed="rId2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285" name="Screenshot 2021-09-03 at 19.26.14.png" descr="Screenshot 2021-09-03 at 19.26.14.png"/>
          <p:cNvPicPr>
            <a:picLocks/>
          </p:cNvPicPr>
          <p:nvPr/>
        </p:nvPicPr>
        <p:blipFill>
          <a:blip r:embed="rId2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286" name="Global Commercial Portfolio Tool"/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  Customer Profile</a:t>
            </a:r>
            <a:endParaRPr/>
          </a:p>
        </p:txBody>
      </p:sp>
      <p:sp>
        <p:nvSpPr>
          <p:cNvPr id="287" name="Rectangle"/>
          <p:cNvSpPr/>
          <p:nvPr/>
        </p:nvSpPr>
        <p:spPr>
          <a:xfrm>
            <a:off x="377251" y="-2534548"/>
            <a:ext cx="13227433" cy="825862"/>
          </a:xfrm>
          <a:prstGeom prst="rect">
            <a:avLst/>
          </a:prstGeom>
          <a:solidFill>
            <a:schemeClr val="accent1">
              <a:lumOff val="16847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88" name="OE Name: All"/>
          <p:cNvSpPr/>
          <p:nvPr/>
        </p:nvSpPr>
        <p:spPr>
          <a:xfrm>
            <a:off x="2811571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OE Name: All</a:t>
            </a:r>
          </a:p>
        </p:txBody>
      </p:sp>
      <p:sp>
        <p:nvSpPr>
          <p:cNvPr id="289" name="LoB: All"/>
          <p:cNvSpPr/>
          <p:nvPr/>
        </p:nvSpPr>
        <p:spPr>
          <a:xfrm>
            <a:off x="4979670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LoB: All</a:t>
            </a:r>
          </a:p>
        </p:txBody>
      </p:sp>
      <p:sp>
        <p:nvSpPr>
          <p:cNvPr id="290" name="SubLob: All"/>
          <p:cNvSpPr/>
          <p:nvPr/>
        </p:nvSpPr>
        <p:spPr>
          <a:xfrm>
            <a:off x="7147769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SubLob: All</a:t>
            </a:r>
          </a:p>
        </p:txBody>
      </p:sp>
      <p:sp>
        <p:nvSpPr>
          <p:cNvPr id="291" name="AZ_ISIC_PLUS: All"/>
          <p:cNvSpPr/>
          <p:nvPr/>
        </p:nvSpPr>
        <p:spPr>
          <a:xfrm>
            <a:off x="9312894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AZ_ISIC_PLUS: All</a:t>
            </a:r>
          </a:p>
        </p:txBody>
      </p:sp>
      <p:sp>
        <p:nvSpPr>
          <p:cNvPr id="292" name="Triangle"/>
          <p:cNvSpPr/>
          <p:nvPr/>
        </p:nvSpPr>
        <p:spPr>
          <a:xfrm rot="10800000" flipH="1">
            <a:off x="4645348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3" name="Triangle"/>
          <p:cNvSpPr/>
          <p:nvPr/>
        </p:nvSpPr>
        <p:spPr>
          <a:xfrm rot="10800000" flipH="1">
            <a:off x="6813447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4" name="Triangle"/>
          <p:cNvSpPr/>
          <p:nvPr/>
        </p:nvSpPr>
        <p:spPr>
          <a:xfrm rot="10800000" flipH="1">
            <a:off x="8981546" y="-2356929"/>
            <a:ext cx="243741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5" name="Triangle"/>
          <p:cNvSpPr/>
          <p:nvPr/>
        </p:nvSpPr>
        <p:spPr>
          <a:xfrm rot="10800000" flipH="1">
            <a:off x="11146671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6" name="&lt;Additional Filter&gt;"/>
          <p:cNvSpPr/>
          <p:nvPr/>
        </p:nvSpPr>
        <p:spPr>
          <a:xfrm>
            <a:off x="11478018" y="-2453645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&lt;Additional Filter&gt;</a:t>
            </a:r>
          </a:p>
        </p:txBody>
      </p:sp>
      <p:sp>
        <p:nvSpPr>
          <p:cNvPr id="297" name="Triangle"/>
          <p:cNvSpPr/>
          <p:nvPr/>
        </p:nvSpPr>
        <p:spPr>
          <a:xfrm rot="10800000" flipH="1">
            <a:off x="13271566" y="-2791192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8" name="Report Segment"/>
          <p:cNvSpPr txBox="1"/>
          <p:nvPr/>
        </p:nvSpPr>
        <p:spPr>
          <a:xfrm>
            <a:off x="453333" y="-2536290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Report Segment</a:t>
            </a:r>
          </a:p>
        </p:txBody>
      </p:sp>
      <p:sp>
        <p:nvSpPr>
          <p:cNvPr id="299" name="Number of Policies"/>
          <p:cNvSpPr/>
          <p:nvPr/>
        </p:nvSpPr>
        <p:spPr>
          <a:xfrm>
            <a:off x="2810084" y="-2095636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Number of Policies</a:t>
            </a:r>
          </a:p>
        </p:txBody>
      </p:sp>
      <p:sp>
        <p:nvSpPr>
          <p:cNvPr id="300" name="Triangle"/>
          <p:cNvSpPr/>
          <p:nvPr/>
        </p:nvSpPr>
        <p:spPr>
          <a:xfrm rot="10800000" flipH="1">
            <a:off x="4643861" y="-1995038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301" name="KPIs"/>
          <p:cNvSpPr txBox="1"/>
          <p:nvPr/>
        </p:nvSpPr>
        <p:spPr>
          <a:xfrm>
            <a:off x="447384" y="-2179723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KPIs</a:t>
            </a:r>
          </a:p>
        </p:txBody>
      </p:sp>
      <p:graphicFrame>
        <p:nvGraphicFramePr>
          <p:cNvPr id="258" name="Tabelle 258">
            <a:extLst>
              <a:ext uri="{FF2B5EF4-FFF2-40B4-BE49-F238E27FC236}">
                <a16:creationId xmlns:a16="http://schemas.microsoft.com/office/drawing/2014/main" id="{D3FDEBFA-818A-B4E7-FDBD-22BC4994C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3008405"/>
              </p:ext>
            </p:extLst>
          </p:nvPr>
        </p:nvGraphicFramePr>
        <p:xfrm>
          <a:off x="594445" y="5306739"/>
          <a:ext cx="23246272" cy="39316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29832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3437448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836874877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1352955512"/>
                    </a:ext>
                  </a:extLst>
                </a:gridCol>
                <a:gridCol w="2829832">
                  <a:extLst>
                    <a:ext uri="{9D8B030D-6E8A-4147-A177-3AD203B41FA5}">
                      <a16:colId xmlns:a16="http://schemas.microsoft.com/office/drawing/2014/main" val="4210510876"/>
                    </a:ext>
                  </a:extLst>
                </a:gridCol>
              </a:tblGrid>
              <a:tr h="647812">
                <a:tc gridSpan="8">
                  <a:txBody>
                    <a:bodyPr/>
                    <a:lstStyle/>
                    <a:p>
                      <a:pPr algn="l"/>
                      <a:r>
                        <a:rPr lang="de-DE" sz="1800">
                          <a:solidFill>
                            <a:schemeClr val="bg1"/>
                          </a:solidFill>
                        </a:rPr>
                        <a:t>List of customers and related entit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114852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Customer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ltimate Par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 LoB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TSI 2018 (property only)</a:t>
                      </a:r>
                    </a:p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mn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Gross Limit 2018 (liability only)</a:t>
                      </a:r>
                    </a:p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mn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2018 GWP</a:t>
                      </a:r>
                    </a:p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‘000 E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2018 Loss Rati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Industry Clus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BC </a:t>
                      </a:r>
                      <a:r>
                        <a:rPr lang="de-DE" sz="160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Hampshite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 Lt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BC Group Lt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Food: Meat &amp; grocery MF-2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BC UK </a:t>
                      </a:r>
                      <a:r>
                        <a:rPr lang="de-DE" sz="160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ogistics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 Lt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BC Group Lt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Proper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ransportation &amp; storag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692560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Small A Compan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Small 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ia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34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griculture, forestry &amp; fish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4626122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3514832"/>
                  </a:ext>
                </a:extLst>
              </a:tr>
            </a:tbl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79F07B24-79EC-837D-C13B-5D5DCECE8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92" y="3575319"/>
            <a:ext cx="4114800" cy="8382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50411B9A-D951-A115-1B63-C59812E55BED}"/>
              </a:ext>
            </a:extLst>
          </p:cNvPr>
          <p:cNvSpPr/>
          <p:nvPr/>
        </p:nvSpPr>
        <p:spPr>
          <a:xfrm>
            <a:off x="782491" y="3575319"/>
            <a:ext cx="815309" cy="20861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" name="All">
            <a:extLst>
              <a:ext uri="{FF2B5EF4-FFF2-40B4-BE49-F238E27FC236}">
                <a16:creationId xmlns:a16="http://schemas.microsoft.com/office/drawing/2014/main" id="{1F1424D2-6F88-9ED2-6740-4CC2A0EA2FF1}"/>
              </a:ext>
            </a:extLst>
          </p:cNvPr>
          <p:cNvSpPr txBox="1"/>
          <p:nvPr/>
        </p:nvSpPr>
        <p:spPr>
          <a:xfrm>
            <a:off x="770122" y="3372657"/>
            <a:ext cx="1940683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algn="l">
              <a:defRPr sz="1400" b="0"/>
            </a:lvl1pPr>
          </a:lstStyle>
          <a:p>
            <a:r>
              <a:rPr lang="de-DE"/>
              <a:t>Customer Name</a:t>
            </a:r>
            <a:endParaRPr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7BD29C9-8AA8-364F-798B-C6CD31DE2E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3492" y="3575319"/>
            <a:ext cx="4114800" cy="83820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C50BAA75-BAF8-2922-20A4-4E941D51986A}"/>
              </a:ext>
            </a:extLst>
          </p:cNvPr>
          <p:cNvSpPr/>
          <p:nvPr/>
        </p:nvSpPr>
        <p:spPr>
          <a:xfrm>
            <a:off x="6243491" y="3575319"/>
            <a:ext cx="815309" cy="20861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4" name="All">
            <a:extLst>
              <a:ext uri="{FF2B5EF4-FFF2-40B4-BE49-F238E27FC236}">
                <a16:creationId xmlns:a16="http://schemas.microsoft.com/office/drawing/2014/main" id="{5D46DA4A-71B9-918C-6076-8E290B70B8D7}"/>
              </a:ext>
            </a:extLst>
          </p:cNvPr>
          <p:cNvSpPr txBox="1"/>
          <p:nvPr/>
        </p:nvSpPr>
        <p:spPr>
          <a:xfrm>
            <a:off x="6231122" y="3372657"/>
            <a:ext cx="1940683" cy="3180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algn="l">
              <a:defRPr sz="1400" b="0"/>
            </a:lvl1pPr>
          </a:lstStyle>
          <a:p>
            <a:r>
              <a:rPr lang="de-DE"/>
              <a:t>Ultimate Parent</a:t>
            </a:r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6E4CCE-926A-6CC6-08FE-82923B91EA04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A06DC33-DE3C-4536-B3B1-3286F54FA3D3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u="sng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		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00" name="Gruppieren 32">
            <a:extLst>
              <a:ext uri="{FF2B5EF4-FFF2-40B4-BE49-F238E27FC236}">
                <a16:creationId xmlns:a16="http://schemas.microsoft.com/office/drawing/2014/main" id="{D29001EB-1F36-4F7E-949A-C804848B5759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10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131658B7-2DD2-43D1-86ED-72CADBC2B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2" name="OE Name">
              <a:extLst>
                <a:ext uri="{FF2B5EF4-FFF2-40B4-BE49-F238E27FC236}">
                  <a16:creationId xmlns:a16="http://schemas.microsoft.com/office/drawing/2014/main" id="{3595DBCD-5CA4-47C5-949B-4AD821C9CCF6}"/>
                </a:ext>
              </a:extLst>
            </p:cNvPr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103" name="Rectangle">
              <a:extLst>
                <a:ext uri="{FF2B5EF4-FFF2-40B4-BE49-F238E27FC236}">
                  <a16:creationId xmlns:a16="http://schemas.microsoft.com/office/drawing/2014/main" id="{8CC015FC-AE9F-43EF-A4F5-921B431BC403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4" name="All">
              <a:extLst>
                <a:ext uri="{FF2B5EF4-FFF2-40B4-BE49-F238E27FC236}">
                  <a16:creationId xmlns:a16="http://schemas.microsoft.com/office/drawing/2014/main" id="{302964F1-E87F-4E68-825A-11F5881488AE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05" name="Gruppieren 31">
            <a:extLst>
              <a:ext uri="{FF2B5EF4-FFF2-40B4-BE49-F238E27FC236}">
                <a16:creationId xmlns:a16="http://schemas.microsoft.com/office/drawing/2014/main" id="{BFD96449-8D74-4315-8C41-51FB7F6BA29F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10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55290B5-75C0-4079-9B40-E5ECD8A68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07" name="OE Name">
              <a:extLst>
                <a:ext uri="{FF2B5EF4-FFF2-40B4-BE49-F238E27FC236}">
                  <a16:creationId xmlns:a16="http://schemas.microsoft.com/office/drawing/2014/main" id="{A63B487B-362E-4EB0-90EC-6CEA7D952288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108" name="Rectangle">
              <a:extLst>
                <a:ext uri="{FF2B5EF4-FFF2-40B4-BE49-F238E27FC236}">
                  <a16:creationId xmlns:a16="http://schemas.microsoft.com/office/drawing/2014/main" id="{E4F2EB53-7968-4C0A-8877-3587084BEBC5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09" name="All">
              <a:extLst>
                <a:ext uri="{FF2B5EF4-FFF2-40B4-BE49-F238E27FC236}">
                  <a16:creationId xmlns:a16="http://schemas.microsoft.com/office/drawing/2014/main" id="{A2EC8326-F535-4957-A8FF-74CC4DE758A8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10" name="Gruppieren 30">
            <a:extLst>
              <a:ext uri="{FF2B5EF4-FFF2-40B4-BE49-F238E27FC236}">
                <a16:creationId xmlns:a16="http://schemas.microsoft.com/office/drawing/2014/main" id="{52E01D3E-AE5E-4A8A-9055-E79C6EFF89BC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11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EB913ADE-B5FC-4508-A843-49A75D16DA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2" name="OE Name">
              <a:extLst>
                <a:ext uri="{FF2B5EF4-FFF2-40B4-BE49-F238E27FC236}">
                  <a16:creationId xmlns:a16="http://schemas.microsoft.com/office/drawing/2014/main" id="{5B3CE4CD-245B-4C55-9468-67CD76CE2E6F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113" name="Rectangle">
              <a:extLst>
                <a:ext uri="{FF2B5EF4-FFF2-40B4-BE49-F238E27FC236}">
                  <a16:creationId xmlns:a16="http://schemas.microsoft.com/office/drawing/2014/main" id="{771701CA-569D-4137-90D3-CB1DE6EF9E81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14" name="All">
              <a:extLst>
                <a:ext uri="{FF2B5EF4-FFF2-40B4-BE49-F238E27FC236}">
                  <a16:creationId xmlns:a16="http://schemas.microsoft.com/office/drawing/2014/main" id="{19BB9E6C-CAE9-476D-B27A-305005969409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15" name="Gruppieren 29">
            <a:extLst>
              <a:ext uri="{FF2B5EF4-FFF2-40B4-BE49-F238E27FC236}">
                <a16:creationId xmlns:a16="http://schemas.microsoft.com/office/drawing/2014/main" id="{D9CAB917-40AF-40B8-830D-7881FD597B81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11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A23A2CDE-8934-418E-A9BD-B9D40C7A6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17" name="OE Name">
              <a:extLst>
                <a:ext uri="{FF2B5EF4-FFF2-40B4-BE49-F238E27FC236}">
                  <a16:creationId xmlns:a16="http://schemas.microsoft.com/office/drawing/2014/main" id="{8087960B-9F0A-42F4-A599-79ADD7578835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118" name="Rectangle">
              <a:extLst>
                <a:ext uri="{FF2B5EF4-FFF2-40B4-BE49-F238E27FC236}">
                  <a16:creationId xmlns:a16="http://schemas.microsoft.com/office/drawing/2014/main" id="{1D0369E1-0A93-48EE-9575-EAFDF8ABC36A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19" name="All">
              <a:extLst>
                <a:ext uri="{FF2B5EF4-FFF2-40B4-BE49-F238E27FC236}">
                  <a16:creationId xmlns:a16="http://schemas.microsoft.com/office/drawing/2014/main" id="{AA04F603-DC77-4327-9637-4BFA7343A68E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20" name="Gruppieren 32">
            <a:extLst>
              <a:ext uri="{FF2B5EF4-FFF2-40B4-BE49-F238E27FC236}">
                <a16:creationId xmlns:a16="http://schemas.microsoft.com/office/drawing/2014/main" id="{E9F5836B-90FF-43A1-8BFF-C0D7180B8818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12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F48E0D9B-C697-4962-8277-4A732D3066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2" name="OE Name">
              <a:extLst>
                <a:ext uri="{FF2B5EF4-FFF2-40B4-BE49-F238E27FC236}">
                  <a16:creationId xmlns:a16="http://schemas.microsoft.com/office/drawing/2014/main" id="{69AF31CA-D9EB-41C5-BA3B-5C20E034E9E3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123" name="Rectangle">
              <a:extLst>
                <a:ext uri="{FF2B5EF4-FFF2-40B4-BE49-F238E27FC236}">
                  <a16:creationId xmlns:a16="http://schemas.microsoft.com/office/drawing/2014/main" id="{6DE90A51-266A-46B3-8048-AF3D34239C33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124" name="All">
              <a:extLst>
                <a:ext uri="{FF2B5EF4-FFF2-40B4-BE49-F238E27FC236}">
                  <a16:creationId xmlns:a16="http://schemas.microsoft.com/office/drawing/2014/main" id="{913045CE-244C-48F8-BF33-1622F9447017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125" name="Gruppieren 32">
            <a:extLst>
              <a:ext uri="{FF2B5EF4-FFF2-40B4-BE49-F238E27FC236}">
                <a16:creationId xmlns:a16="http://schemas.microsoft.com/office/drawing/2014/main" id="{368919B9-5DE0-4D00-BB31-611B6B3D57F3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12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306B063D-51AF-4163-BA52-F6930CCDA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27" name="OE Name">
              <a:extLst>
                <a:ext uri="{FF2B5EF4-FFF2-40B4-BE49-F238E27FC236}">
                  <a16:creationId xmlns:a16="http://schemas.microsoft.com/office/drawing/2014/main" id="{37E2A8B5-9B72-4A54-B088-29F7CA37CA41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128" name="Rectangle">
              <a:extLst>
                <a:ext uri="{FF2B5EF4-FFF2-40B4-BE49-F238E27FC236}">
                  <a16:creationId xmlns:a16="http://schemas.microsoft.com/office/drawing/2014/main" id="{4BA593D3-A2BB-41FD-8A84-83B69B945B90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29" name="All">
              <a:extLst>
                <a:ext uri="{FF2B5EF4-FFF2-40B4-BE49-F238E27FC236}">
                  <a16:creationId xmlns:a16="http://schemas.microsoft.com/office/drawing/2014/main" id="{361796DC-09CA-4913-A8E3-1EABB1859748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130" name="Gruppieren 29">
            <a:extLst>
              <a:ext uri="{FF2B5EF4-FFF2-40B4-BE49-F238E27FC236}">
                <a16:creationId xmlns:a16="http://schemas.microsoft.com/office/drawing/2014/main" id="{94DDCF76-26DE-41CE-9E20-914F50A0B10C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13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FC6E805B-44BC-4DF5-88DB-5308F4570D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32" name="OE Name">
              <a:extLst>
                <a:ext uri="{FF2B5EF4-FFF2-40B4-BE49-F238E27FC236}">
                  <a16:creationId xmlns:a16="http://schemas.microsoft.com/office/drawing/2014/main" id="{199876D7-054C-4253-852D-B4356CBF9F5F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133" name="Rectangle">
              <a:extLst>
                <a:ext uri="{FF2B5EF4-FFF2-40B4-BE49-F238E27FC236}">
                  <a16:creationId xmlns:a16="http://schemas.microsoft.com/office/drawing/2014/main" id="{D30912F6-E252-4B9F-AA4E-1D7AE345F4A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34" name="All">
              <a:extLst>
                <a:ext uri="{FF2B5EF4-FFF2-40B4-BE49-F238E27FC236}">
                  <a16:creationId xmlns:a16="http://schemas.microsoft.com/office/drawing/2014/main" id="{BB345C2D-384D-41D0-9576-4BED27847B49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135" name="Gruppieren 29">
            <a:extLst>
              <a:ext uri="{FF2B5EF4-FFF2-40B4-BE49-F238E27FC236}">
                <a16:creationId xmlns:a16="http://schemas.microsoft.com/office/drawing/2014/main" id="{8792187D-8865-43E0-9019-D8DCAA7D2E5D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13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E841D7D7-E129-489C-8E5C-0022E8C2B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37" name="OE Name">
              <a:extLst>
                <a:ext uri="{FF2B5EF4-FFF2-40B4-BE49-F238E27FC236}">
                  <a16:creationId xmlns:a16="http://schemas.microsoft.com/office/drawing/2014/main" id="{EFA4BC2A-E443-4C7A-A532-AAAECF83F1A9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138" name="Rectangle">
              <a:extLst>
                <a:ext uri="{FF2B5EF4-FFF2-40B4-BE49-F238E27FC236}">
                  <a16:creationId xmlns:a16="http://schemas.microsoft.com/office/drawing/2014/main" id="{93A0EEEE-D222-4DFB-9026-1E2084C88C00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39" name="All">
              <a:extLst>
                <a:ext uri="{FF2B5EF4-FFF2-40B4-BE49-F238E27FC236}">
                  <a16:creationId xmlns:a16="http://schemas.microsoft.com/office/drawing/2014/main" id="{D1D9DFBB-A8D1-404F-8C05-66197CCC8702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140" name="Gruppieren 29">
            <a:extLst>
              <a:ext uri="{FF2B5EF4-FFF2-40B4-BE49-F238E27FC236}">
                <a16:creationId xmlns:a16="http://schemas.microsoft.com/office/drawing/2014/main" id="{2BFBF9B6-FBBD-4B35-938B-4D03E23CC1E4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141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1A1B0BAC-41AF-47B6-AE7F-53C6B0620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42" name="OE Name">
              <a:extLst>
                <a:ext uri="{FF2B5EF4-FFF2-40B4-BE49-F238E27FC236}">
                  <a16:creationId xmlns:a16="http://schemas.microsoft.com/office/drawing/2014/main" id="{1B5AE433-00FA-4753-BA1F-661D5E2242EE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02518217-0578-4834-B441-4196755EE647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44" name="All">
              <a:extLst>
                <a:ext uri="{FF2B5EF4-FFF2-40B4-BE49-F238E27FC236}">
                  <a16:creationId xmlns:a16="http://schemas.microsoft.com/office/drawing/2014/main" id="{C7CC7AC2-D767-4FF5-B6EC-685140930279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145" name="Gruppieren 29">
            <a:extLst>
              <a:ext uri="{FF2B5EF4-FFF2-40B4-BE49-F238E27FC236}">
                <a16:creationId xmlns:a16="http://schemas.microsoft.com/office/drawing/2014/main" id="{4D22A1DA-C455-4D80-BCC1-ABE8FCB8E890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14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6C72F89-87EC-4160-BE64-A7F553263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47" name="OE Name">
              <a:extLst>
                <a:ext uri="{FF2B5EF4-FFF2-40B4-BE49-F238E27FC236}">
                  <a16:creationId xmlns:a16="http://schemas.microsoft.com/office/drawing/2014/main" id="{72325492-95B9-4B92-9E42-767DACCCF18F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148" name="Rectangle">
              <a:extLst>
                <a:ext uri="{FF2B5EF4-FFF2-40B4-BE49-F238E27FC236}">
                  <a16:creationId xmlns:a16="http://schemas.microsoft.com/office/drawing/2014/main" id="{2D609817-E096-4558-ACE1-CDEB9E03FD25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49" name="All">
              <a:extLst>
                <a:ext uri="{FF2B5EF4-FFF2-40B4-BE49-F238E27FC236}">
                  <a16:creationId xmlns:a16="http://schemas.microsoft.com/office/drawing/2014/main" id="{AAEFF2F8-8FD7-4C40-AABB-853EB8754100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A39B444-6BEC-4429-99C3-56A90CD1738D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94654958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603" y="59189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en-US">
                <a:cs typeface="Arial"/>
              </a:rPr>
              <a:t>Data Summary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5AD025A-7D40-7D7F-51BD-D73C7A559C2F}"/>
              </a:ext>
            </a:extLst>
          </p:cNvPr>
          <p:cNvSpPr txBox="1">
            <a:spLocks/>
          </p:cNvSpPr>
          <p:nvPr/>
        </p:nvSpPr>
        <p:spPr>
          <a:xfrm>
            <a:off x="3000450" y="4516321"/>
            <a:ext cx="18649948" cy="17741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935420" rtl="0" eaLnBrk="1" latinLnBrk="0" hangingPunct="1">
              <a:lnSpc>
                <a:spcPts val="7600"/>
              </a:lnSpc>
              <a:spcBef>
                <a:spcPct val="0"/>
              </a:spcBef>
              <a:buNone/>
              <a:defRPr sz="7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9600" b="0">
                <a:cs typeface="Arial"/>
              </a:rPr>
              <a:t>Mockups</a:t>
            </a:r>
          </a:p>
        </p:txBody>
      </p:sp>
    </p:spTree>
    <p:extLst>
      <p:ext uri="{BB962C8B-B14F-4D97-AF65-F5344CB8AC3E}">
        <p14:creationId xmlns:p14="http://schemas.microsoft.com/office/powerpoint/2010/main" val="11386791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86E2EE8B-3B0E-968D-5CB0-E6173DB58A60}"/>
              </a:ext>
            </a:extLst>
          </p:cNvPr>
          <p:cNvSpPr/>
          <p:nvPr/>
        </p:nvSpPr>
        <p:spPr>
          <a:xfrm>
            <a:off x="543121" y="83146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75" name="Screenshot 2021-09-03 at 19.26.14.png" descr="Screenshot 2021-09-03 at 19.26.14.png"/>
          <p:cNvPicPr>
            <a:picLocks noChangeAspect="1"/>
          </p:cNvPicPr>
          <p:nvPr/>
        </p:nvPicPr>
        <p:blipFill rotWithShape="1">
          <a:blip r:embed="rId2"/>
          <a:srcRect l="522" t="11376" r="1992" b="81857"/>
          <a:stretch/>
        </p:blipFill>
        <p:spPr>
          <a:xfrm>
            <a:off x="543123" y="75545"/>
            <a:ext cx="23297594" cy="101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285" name="Screenshot 2021-09-03 at 19.26.14.png" descr="Screenshot 2021-09-03 at 19.26.14.png"/>
          <p:cNvPicPr>
            <a:picLocks/>
          </p:cNvPicPr>
          <p:nvPr/>
        </p:nvPicPr>
        <p:blipFill>
          <a:blip r:embed="rId2"/>
          <a:srcRect l="74626" t="12130" r="18210" b="84548"/>
          <a:stretch>
            <a:fillRect/>
          </a:stretch>
        </p:blipFill>
        <p:spPr>
          <a:xfrm>
            <a:off x="1025586" y="405027"/>
            <a:ext cx="22577363" cy="513333"/>
          </a:xfrm>
          <a:prstGeom prst="rect">
            <a:avLst/>
          </a:prstGeom>
          <a:ln w="12700">
            <a:miter lim="400000"/>
          </a:ln>
        </p:spPr>
      </p:pic>
      <p:sp>
        <p:nvSpPr>
          <p:cNvPr id="286" name="Global Commercial Portfolio Tool"/>
          <p:cNvSpPr txBox="1"/>
          <p:nvPr/>
        </p:nvSpPr>
        <p:spPr>
          <a:xfrm>
            <a:off x="1122122" y="297853"/>
            <a:ext cx="13339835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t>Global Commercial Portfolio Tool</a:t>
            </a:r>
            <a:r>
              <a:rPr lang="en-US"/>
              <a:t> |  Data Summary</a:t>
            </a:r>
            <a:endParaRPr/>
          </a:p>
        </p:txBody>
      </p:sp>
      <p:sp>
        <p:nvSpPr>
          <p:cNvPr id="287" name="Rectangle"/>
          <p:cNvSpPr/>
          <p:nvPr/>
        </p:nvSpPr>
        <p:spPr>
          <a:xfrm>
            <a:off x="377251" y="-2534548"/>
            <a:ext cx="13227433" cy="825862"/>
          </a:xfrm>
          <a:prstGeom prst="rect">
            <a:avLst/>
          </a:prstGeom>
          <a:solidFill>
            <a:schemeClr val="accent1">
              <a:lumOff val="16847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88" name="OE Name: All"/>
          <p:cNvSpPr/>
          <p:nvPr/>
        </p:nvSpPr>
        <p:spPr>
          <a:xfrm>
            <a:off x="2811571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OE Name: All</a:t>
            </a:r>
          </a:p>
        </p:txBody>
      </p:sp>
      <p:sp>
        <p:nvSpPr>
          <p:cNvPr id="289" name="LoB: All"/>
          <p:cNvSpPr/>
          <p:nvPr/>
        </p:nvSpPr>
        <p:spPr>
          <a:xfrm>
            <a:off x="4979670" y="-2451177"/>
            <a:ext cx="2074544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LoB: All</a:t>
            </a:r>
          </a:p>
        </p:txBody>
      </p:sp>
      <p:sp>
        <p:nvSpPr>
          <p:cNvPr id="290" name="SubLob: All"/>
          <p:cNvSpPr/>
          <p:nvPr/>
        </p:nvSpPr>
        <p:spPr>
          <a:xfrm>
            <a:off x="7147769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SubLob: All</a:t>
            </a:r>
          </a:p>
        </p:txBody>
      </p:sp>
      <p:sp>
        <p:nvSpPr>
          <p:cNvPr id="291" name="AZ_ISIC_PLUS: All"/>
          <p:cNvSpPr/>
          <p:nvPr/>
        </p:nvSpPr>
        <p:spPr>
          <a:xfrm>
            <a:off x="9312894" y="-2451177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AZ_ISIC_PLUS: All</a:t>
            </a:r>
          </a:p>
        </p:txBody>
      </p:sp>
      <p:sp>
        <p:nvSpPr>
          <p:cNvPr id="292" name="Triangle"/>
          <p:cNvSpPr/>
          <p:nvPr/>
        </p:nvSpPr>
        <p:spPr>
          <a:xfrm rot="10800000" flipH="1">
            <a:off x="4645348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3" name="Triangle"/>
          <p:cNvSpPr/>
          <p:nvPr/>
        </p:nvSpPr>
        <p:spPr>
          <a:xfrm rot="10800000" flipH="1">
            <a:off x="6813447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4" name="Triangle"/>
          <p:cNvSpPr/>
          <p:nvPr/>
        </p:nvSpPr>
        <p:spPr>
          <a:xfrm rot="10800000" flipH="1">
            <a:off x="8981546" y="-2356929"/>
            <a:ext cx="243741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5" name="Triangle"/>
          <p:cNvSpPr/>
          <p:nvPr/>
        </p:nvSpPr>
        <p:spPr>
          <a:xfrm rot="10800000" flipH="1">
            <a:off x="11146671" y="-2356929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6" name="&lt;Additional Filter&gt;"/>
          <p:cNvSpPr/>
          <p:nvPr/>
        </p:nvSpPr>
        <p:spPr>
          <a:xfrm>
            <a:off x="11478018" y="-2453645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&lt;Additional Filter&gt;</a:t>
            </a:r>
          </a:p>
        </p:txBody>
      </p:sp>
      <p:sp>
        <p:nvSpPr>
          <p:cNvPr id="297" name="Triangle"/>
          <p:cNvSpPr/>
          <p:nvPr/>
        </p:nvSpPr>
        <p:spPr>
          <a:xfrm rot="10800000" flipH="1">
            <a:off x="13271566" y="-2791192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98" name="Report Segment"/>
          <p:cNvSpPr txBox="1"/>
          <p:nvPr/>
        </p:nvSpPr>
        <p:spPr>
          <a:xfrm>
            <a:off x="453333" y="-2536290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Report Segment</a:t>
            </a:r>
          </a:p>
        </p:txBody>
      </p:sp>
      <p:sp>
        <p:nvSpPr>
          <p:cNvPr id="299" name="Number of Policies"/>
          <p:cNvSpPr/>
          <p:nvPr/>
        </p:nvSpPr>
        <p:spPr>
          <a:xfrm>
            <a:off x="2810084" y="-2095636"/>
            <a:ext cx="2074545" cy="325298"/>
          </a:xfrm>
          <a:prstGeom prst="rect">
            <a:avLst/>
          </a:prstGeom>
          <a:solidFill>
            <a:srgbClr val="5E5E5E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ctr"/>
          <a:lstStyle>
            <a:lvl1pPr algn="l" defTabSz="1467555">
              <a:defRPr sz="1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Number of Policies</a:t>
            </a:r>
          </a:p>
        </p:txBody>
      </p:sp>
      <p:sp>
        <p:nvSpPr>
          <p:cNvPr id="300" name="Triangle"/>
          <p:cNvSpPr/>
          <p:nvPr/>
        </p:nvSpPr>
        <p:spPr>
          <a:xfrm rot="10800000" flipH="1">
            <a:off x="4643861" y="-1995038"/>
            <a:ext cx="243742" cy="136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1467555">
              <a:defRPr sz="56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301" name="KPIs"/>
          <p:cNvSpPr txBox="1"/>
          <p:nvPr/>
        </p:nvSpPr>
        <p:spPr>
          <a:xfrm>
            <a:off x="447384" y="-2179723"/>
            <a:ext cx="2604953" cy="407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5" tIns="28575" rIns="28575" bIns="28575" anchor="b">
            <a:normAutofit/>
          </a:bodyPr>
          <a:lstStyle>
            <a:lvl1pPr algn="l" defTabSz="1467555">
              <a:defRPr sz="1600" b="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KPIs</a:t>
            </a:r>
          </a:p>
        </p:txBody>
      </p:sp>
      <p:graphicFrame>
        <p:nvGraphicFramePr>
          <p:cNvPr id="258" name="Tabelle 258">
            <a:extLst>
              <a:ext uri="{FF2B5EF4-FFF2-40B4-BE49-F238E27FC236}">
                <a16:creationId xmlns:a16="http://schemas.microsoft.com/office/drawing/2014/main" id="{D3FDEBFA-818A-B4E7-FDBD-22BC4994C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937283"/>
              </p:ext>
            </p:extLst>
          </p:nvPr>
        </p:nvGraphicFramePr>
        <p:xfrm>
          <a:off x="594445" y="4455151"/>
          <a:ext cx="23246282" cy="33227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72837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2517912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836874877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1352955512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4210510876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3525081946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222212718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1467765283"/>
                    </a:ext>
                  </a:extLst>
                </a:gridCol>
              </a:tblGrid>
              <a:tr h="647812">
                <a:tc gridSpan="11"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D</a:t>
                      </a:r>
                      <a:r>
                        <a:rPr lang="de-DE" sz="1800">
                          <a:solidFill>
                            <a:schemeClr val="bg1"/>
                          </a:solidFill>
                        </a:rPr>
                        <a:t>ata Summa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114852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ount Business Key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 Count distinct business key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5yr cum GW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5yr cum Claim Cos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5yr cum Claim Cost</a:t>
                      </a:r>
                    </a:p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&lt; 1m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5yr cum Claim Cost</a:t>
                      </a:r>
                    </a:p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&gt; 1mn &amp; &lt; 5m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5yr cum Claim Cost</a:t>
                      </a:r>
                    </a:p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&gt; 5m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um TSI</a:t>
                      </a:r>
                      <a:endParaRPr lang="de-DE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um Gross Limit</a:t>
                      </a:r>
                      <a:endParaRPr lang="de-DE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Avg 5yr Loss Ratio</a:t>
                      </a:r>
                      <a:endParaRPr lang="de-DE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lianz Italy (I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64630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64630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37,887,35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llianz U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13247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65290</a:t>
                      </a: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,337,887,35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3514832"/>
                  </a:ext>
                </a:extLst>
              </a:tr>
            </a:tbl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0411B9A-D951-A115-1B63-C59812E55BED}"/>
              </a:ext>
            </a:extLst>
          </p:cNvPr>
          <p:cNvSpPr/>
          <p:nvPr/>
        </p:nvSpPr>
        <p:spPr>
          <a:xfrm>
            <a:off x="782491" y="3575319"/>
            <a:ext cx="815309" cy="20861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6E4CCE-926A-6CC6-08FE-82923B91EA04}"/>
              </a:ext>
            </a:extLst>
          </p:cNvPr>
          <p:cNvSpPr/>
          <p:nvPr/>
        </p:nvSpPr>
        <p:spPr>
          <a:xfrm>
            <a:off x="0" y="0"/>
            <a:ext cx="543121" cy="17566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47" name="Tabelle 258">
            <a:extLst>
              <a:ext uri="{FF2B5EF4-FFF2-40B4-BE49-F238E27FC236}">
                <a16:creationId xmlns:a16="http://schemas.microsoft.com/office/drawing/2014/main" id="{45FD827A-2AC1-45D4-AD14-61EEF7B424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8302013"/>
              </p:ext>
            </p:extLst>
          </p:nvPr>
        </p:nvGraphicFramePr>
        <p:xfrm>
          <a:off x="594433" y="8913271"/>
          <a:ext cx="10809260" cy="32390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72837">
                  <a:extLst>
                    <a:ext uri="{9D8B030D-6E8A-4147-A177-3AD203B41FA5}">
                      <a16:colId xmlns:a16="http://schemas.microsoft.com/office/drawing/2014/main" val="717843316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1828028693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2052387397"/>
                    </a:ext>
                  </a:extLst>
                </a:gridCol>
                <a:gridCol w="2072837">
                  <a:extLst>
                    <a:ext uri="{9D8B030D-6E8A-4147-A177-3AD203B41FA5}">
                      <a16:colId xmlns:a16="http://schemas.microsoft.com/office/drawing/2014/main" val="365240747"/>
                    </a:ext>
                  </a:extLst>
                </a:gridCol>
                <a:gridCol w="2517912">
                  <a:extLst>
                    <a:ext uri="{9D8B030D-6E8A-4147-A177-3AD203B41FA5}">
                      <a16:colId xmlns:a16="http://schemas.microsoft.com/office/drawing/2014/main" val="1671225026"/>
                    </a:ext>
                  </a:extLst>
                </a:gridCol>
              </a:tblGrid>
              <a:tr h="647812">
                <a:tc gridSpan="5"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Exposure &amp; Accumulation Statistics</a:t>
                      </a:r>
                      <a:endParaRPr lang="de-DE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114852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ount Business Key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 Count distinct business key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TSI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um Gross Limi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DD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32432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llianz Italy (I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89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89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58,337,887,35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1,302,800,06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0899056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llianz U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558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48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58,337,887,35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</a:t>
                      </a:r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1,302,800,06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07630"/>
                  </a:ext>
                </a:extLst>
              </a:tr>
              <a:tr h="647812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bg1">
                            <a:lumMod val="50000"/>
                          </a:schemeClr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3514832"/>
                  </a:ext>
                </a:extLst>
              </a:tr>
            </a:tbl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65550C28-4C7A-4692-A558-CF5077FA30F7}"/>
              </a:ext>
            </a:extLst>
          </p:cNvPr>
          <p:cNvSpPr/>
          <p:nvPr/>
        </p:nvSpPr>
        <p:spPr>
          <a:xfrm>
            <a:off x="543203" y="798045"/>
            <a:ext cx="23297594" cy="958566"/>
          </a:xfrm>
          <a:prstGeom prst="rect">
            <a:avLst/>
          </a:prstGeom>
          <a:solidFill>
            <a:srgbClr val="00378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         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Premium Development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Claim Development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Portfolio Performanc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		</a:t>
            </a:r>
            <a:r>
              <a:rPr kumimoji="0" lang="en-DE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Exposure &amp; Accumulation</a:t>
            </a:r>
            <a:r>
              <a:rPr kumimoji="0" lang="en-US" sz="180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kumimoji="0" lang="en-DE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Customer Profile</a:t>
            </a:r>
            <a:r>
              <a:rPr kumimoji="0" lang="en-US" sz="1800" i="0" strike="noStrike" cap="none" spc="0" normalizeH="0" baseline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		</a:t>
            </a:r>
            <a:r>
              <a:rPr lang="en-US" sz="1800" u="sng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Data Summary</a:t>
            </a:r>
            <a:r>
              <a:rPr lang="en-US" sz="1800">
                <a:solidFill>
                  <a:schemeClr val="tx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  <a:sym typeface="Helvetica Neue Medium"/>
              </a:rPr>
              <a:t>	</a:t>
            </a:r>
            <a:endParaRPr kumimoji="0" lang="en-DE" sz="1800" i="0" strike="noStrike" cap="none" spc="0" normalizeH="0" baseline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40" name="Gruppieren 32">
            <a:extLst>
              <a:ext uri="{FF2B5EF4-FFF2-40B4-BE49-F238E27FC236}">
                <a16:creationId xmlns:a16="http://schemas.microsoft.com/office/drawing/2014/main" id="{ECB1F4CA-3B67-4CF6-9067-6DC5791EEBC5}"/>
              </a:ext>
            </a:extLst>
          </p:cNvPr>
          <p:cNvGrpSpPr>
            <a:grpSpLocks noChangeAspect="1"/>
          </p:cNvGrpSpPr>
          <p:nvPr/>
        </p:nvGrpSpPr>
        <p:grpSpPr>
          <a:xfrm>
            <a:off x="5451059" y="2165453"/>
            <a:ext cx="1827752" cy="725670"/>
            <a:chOff x="543123" y="1184466"/>
            <a:chExt cx="4309574" cy="934343"/>
          </a:xfrm>
        </p:grpSpPr>
        <p:pic>
          <p:nvPicPr>
            <p:cNvPr id="46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7B8003F6-75C7-401C-BD23-4776F1EB4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48" name="OE Name">
              <a:extLst>
                <a:ext uri="{FF2B5EF4-FFF2-40B4-BE49-F238E27FC236}">
                  <a16:creationId xmlns:a16="http://schemas.microsoft.com/office/drawing/2014/main" id="{6F6FF12B-E02A-4A25-9543-F3F8431777D3}"/>
                </a:ext>
              </a:extLst>
            </p:cNvPr>
            <p:cNvSpPr txBox="1"/>
            <p:nvPr/>
          </p:nvSpPr>
          <p:spPr>
            <a:xfrm>
              <a:off x="757227" y="1184466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B</a:t>
              </a:r>
              <a:endParaRPr/>
            </a:p>
          </p:txBody>
        </p:sp>
        <p:sp>
          <p:nvSpPr>
            <p:cNvPr id="49" name="Rectangle">
              <a:extLst>
                <a:ext uri="{FF2B5EF4-FFF2-40B4-BE49-F238E27FC236}">
                  <a16:creationId xmlns:a16="http://schemas.microsoft.com/office/drawing/2014/main" id="{0900C91F-8F25-4CA9-9CA3-2E996DE495EC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0" name="All">
              <a:extLst>
                <a:ext uri="{FF2B5EF4-FFF2-40B4-BE49-F238E27FC236}">
                  <a16:creationId xmlns:a16="http://schemas.microsoft.com/office/drawing/2014/main" id="{CD9AF48A-86CB-4125-A924-FAE50E98EB7C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56" name="Gruppieren 31">
            <a:extLst>
              <a:ext uri="{FF2B5EF4-FFF2-40B4-BE49-F238E27FC236}">
                <a16:creationId xmlns:a16="http://schemas.microsoft.com/office/drawing/2014/main" id="{13C1DDB6-79D1-4031-BD04-3732B0B7B11F}"/>
              </a:ext>
            </a:extLst>
          </p:cNvPr>
          <p:cNvGrpSpPr>
            <a:grpSpLocks noChangeAspect="1"/>
          </p:cNvGrpSpPr>
          <p:nvPr/>
        </p:nvGrpSpPr>
        <p:grpSpPr>
          <a:xfrm>
            <a:off x="7619596" y="2150461"/>
            <a:ext cx="1972722" cy="755654"/>
            <a:chOff x="5140876" y="1132211"/>
            <a:chExt cx="4309574" cy="970926"/>
          </a:xfrm>
        </p:grpSpPr>
        <p:pic>
          <p:nvPicPr>
            <p:cNvPr id="5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4DC285E-4A5A-42DA-B5AD-6C79D0034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140876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58" name="OE Name">
              <a:extLst>
                <a:ext uri="{FF2B5EF4-FFF2-40B4-BE49-F238E27FC236}">
                  <a16:creationId xmlns:a16="http://schemas.microsoft.com/office/drawing/2014/main" id="{A46D0B52-7C43-4303-B8CA-FB598B6EA920}"/>
                </a:ext>
              </a:extLst>
            </p:cNvPr>
            <p:cNvSpPr txBox="1"/>
            <p:nvPr/>
          </p:nvSpPr>
          <p:spPr>
            <a:xfrm>
              <a:off x="5354977" y="1132211"/>
              <a:ext cx="3787005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Segment</a:t>
              </a:r>
              <a:endParaRPr/>
            </a:p>
          </p:txBody>
        </p:sp>
        <p:sp>
          <p:nvSpPr>
            <p:cNvPr id="59" name="Rectangle">
              <a:extLst>
                <a:ext uri="{FF2B5EF4-FFF2-40B4-BE49-F238E27FC236}">
                  <a16:creationId xmlns:a16="http://schemas.microsoft.com/office/drawing/2014/main" id="{A708E600-58C9-44E8-AF53-1ED7731AB3B8}"/>
                </a:ext>
              </a:extLst>
            </p:cNvPr>
            <p:cNvSpPr/>
            <p:nvPr/>
          </p:nvSpPr>
          <p:spPr>
            <a:xfrm>
              <a:off x="5356419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60" name="All">
              <a:extLst>
                <a:ext uri="{FF2B5EF4-FFF2-40B4-BE49-F238E27FC236}">
                  <a16:creationId xmlns:a16="http://schemas.microsoft.com/office/drawing/2014/main" id="{19415EF5-698F-4B35-910F-4CDD0808CD92}"/>
                </a:ext>
              </a:extLst>
            </p:cNvPr>
            <p:cNvSpPr txBox="1"/>
            <p:nvPr/>
          </p:nvSpPr>
          <p:spPr>
            <a:xfrm>
              <a:off x="5389640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61" name="Gruppieren 30">
            <a:extLst>
              <a:ext uri="{FF2B5EF4-FFF2-40B4-BE49-F238E27FC236}">
                <a16:creationId xmlns:a16="http://schemas.microsoft.com/office/drawing/2014/main" id="{17CD66A9-5FC8-49BA-BAE0-5B856A6A309E}"/>
              </a:ext>
            </a:extLst>
          </p:cNvPr>
          <p:cNvGrpSpPr>
            <a:grpSpLocks noChangeAspect="1"/>
          </p:cNvGrpSpPr>
          <p:nvPr/>
        </p:nvGrpSpPr>
        <p:grpSpPr>
          <a:xfrm>
            <a:off x="9933103" y="2143081"/>
            <a:ext cx="1741169" cy="770414"/>
            <a:chOff x="9952733" y="1113246"/>
            <a:chExt cx="4309574" cy="989891"/>
          </a:xfrm>
        </p:grpSpPr>
        <p:pic>
          <p:nvPicPr>
            <p:cNvPr id="6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4C8FEDA-54C7-4DDC-8B02-8AA01368D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9952733" y="1277255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63" name="OE Name">
              <a:extLst>
                <a:ext uri="{FF2B5EF4-FFF2-40B4-BE49-F238E27FC236}">
                  <a16:creationId xmlns:a16="http://schemas.microsoft.com/office/drawing/2014/main" id="{C8EA435A-9CBA-4690-9781-5E572CC2FC37}"/>
                </a:ext>
              </a:extLst>
            </p:cNvPr>
            <p:cNvSpPr txBox="1"/>
            <p:nvPr/>
          </p:nvSpPr>
          <p:spPr>
            <a:xfrm>
              <a:off x="10166835" y="1113246"/>
              <a:ext cx="3449506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Industry Cluster</a:t>
              </a:r>
              <a:endParaRPr/>
            </a:p>
          </p:txBody>
        </p:sp>
        <p:sp>
          <p:nvSpPr>
            <p:cNvPr id="64" name="Rectangle">
              <a:extLst>
                <a:ext uri="{FF2B5EF4-FFF2-40B4-BE49-F238E27FC236}">
                  <a16:creationId xmlns:a16="http://schemas.microsoft.com/office/drawing/2014/main" id="{6D8253E1-C9AB-42B4-BD33-68D5A50D8109}"/>
                </a:ext>
              </a:extLst>
            </p:cNvPr>
            <p:cNvSpPr/>
            <p:nvPr/>
          </p:nvSpPr>
          <p:spPr>
            <a:xfrm>
              <a:off x="10168276" y="1448822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65" name="All">
              <a:extLst>
                <a:ext uri="{FF2B5EF4-FFF2-40B4-BE49-F238E27FC236}">
                  <a16:creationId xmlns:a16="http://schemas.microsoft.com/office/drawing/2014/main" id="{771FC3FF-3E43-4E92-932B-C096898F6D34}"/>
                </a:ext>
              </a:extLst>
            </p:cNvPr>
            <p:cNvSpPr txBox="1"/>
            <p:nvPr/>
          </p:nvSpPr>
          <p:spPr>
            <a:xfrm>
              <a:off x="10201497" y="1544733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66" name="Gruppieren 29">
            <a:extLst>
              <a:ext uri="{FF2B5EF4-FFF2-40B4-BE49-F238E27FC236}">
                <a16:creationId xmlns:a16="http://schemas.microsoft.com/office/drawing/2014/main" id="{0DEC2E75-57E9-44B8-AAC0-A590D38CC52F}"/>
              </a:ext>
            </a:extLst>
          </p:cNvPr>
          <p:cNvGrpSpPr>
            <a:grpSpLocks noChangeAspect="1"/>
          </p:cNvGrpSpPr>
          <p:nvPr/>
        </p:nvGrpSpPr>
        <p:grpSpPr>
          <a:xfrm>
            <a:off x="12015057" y="2164697"/>
            <a:ext cx="2052532" cy="727182"/>
            <a:chOff x="14684786" y="1191512"/>
            <a:chExt cx="4309574" cy="934343"/>
          </a:xfrm>
        </p:grpSpPr>
        <p:pic>
          <p:nvPicPr>
            <p:cNvPr id="6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0E14CA3D-669E-4638-B7DE-4596CA8D7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68" name="OE Name">
              <a:extLst>
                <a:ext uri="{FF2B5EF4-FFF2-40B4-BE49-F238E27FC236}">
                  <a16:creationId xmlns:a16="http://schemas.microsoft.com/office/drawing/2014/main" id="{17E40AAE-C2A0-4D83-9ABA-536EC6FACAA5}"/>
                </a:ext>
              </a:extLst>
            </p:cNvPr>
            <p:cNvSpPr txBox="1"/>
            <p:nvPr/>
          </p:nvSpPr>
          <p:spPr>
            <a:xfrm>
              <a:off x="14898890" y="1191512"/>
              <a:ext cx="1940683" cy="318036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Loss Type</a:t>
              </a:r>
              <a:endParaRPr/>
            </a:p>
          </p:txBody>
        </p:sp>
        <p:sp>
          <p:nvSpPr>
            <p:cNvPr id="69" name="Rectangle">
              <a:extLst>
                <a:ext uri="{FF2B5EF4-FFF2-40B4-BE49-F238E27FC236}">
                  <a16:creationId xmlns:a16="http://schemas.microsoft.com/office/drawing/2014/main" id="{EAA8E052-4E64-42EB-AF30-95897A0AD919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70" name="All">
              <a:extLst>
                <a:ext uri="{FF2B5EF4-FFF2-40B4-BE49-F238E27FC236}">
                  <a16:creationId xmlns:a16="http://schemas.microsoft.com/office/drawing/2014/main" id="{D7EF87D2-3253-4F6A-8061-CB93EFFF5D04}"/>
                </a:ext>
              </a:extLst>
            </p:cNvPr>
            <p:cNvSpPr txBox="1"/>
            <p:nvPr/>
          </p:nvSpPr>
          <p:spPr>
            <a:xfrm>
              <a:off x="14933550" y="1567451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71" name="Gruppieren 32">
            <a:extLst>
              <a:ext uri="{FF2B5EF4-FFF2-40B4-BE49-F238E27FC236}">
                <a16:creationId xmlns:a16="http://schemas.microsoft.com/office/drawing/2014/main" id="{5DCA0888-D340-4F47-B1EF-897DA7B5D659}"/>
              </a:ext>
            </a:extLst>
          </p:cNvPr>
          <p:cNvGrpSpPr>
            <a:grpSpLocks noChangeAspect="1"/>
          </p:cNvGrpSpPr>
          <p:nvPr/>
        </p:nvGrpSpPr>
        <p:grpSpPr>
          <a:xfrm>
            <a:off x="594445" y="2147697"/>
            <a:ext cx="1871197" cy="761185"/>
            <a:chOff x="543123" y="1138740"/>
            <a:chExt cx="4309574" cy="980069"/>
          </a:xfrm>
        </p:grpSpPr>
        <p:pic>
          <p:nvPicPr>
            <p:cNvPr id="7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862F0876-6786-4DEE-84DD-89EC51383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73" name="OE Name">
              <a:extLst>
                <a:ext uri="{FF2B5EF4-FFF2-40B4-BE49-F238E27FC236}">
                  <a16:creationId xmlns:a16="http://schemas.microsoft.com/office/drawing/2014/main" id="{CCF9FCEF-A95A-4B4E-9FD2-E0090566CE12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OE</a:t>
              </a:r>
              <a:endParaRPr/>
            </a:p>
          </p:txBody>
        </p:sp>
        <p:sp>
          <p:nvSpPr>
            <p:cNvPr id="74" name="Rectangle">
              <a:extLst>
                <a:ext uri="{FF2B5EF4-FFF2-40B4-BE49-F238E27FC236}">
                  <a16:creationId xmlns:a16="http://schemas.microsoft.com/office/drawing/2014/main" id="{40137130-F476-4B5D-A581-EA5ECC339237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75" name="All">
              <a:extLst>
                <a:ext uri="{FF2B5EF4-FFF2-40B4-BE49-F238E27FC236}">
                  <a16:creationId xmlns:a16="http://schemas.microsoft.com/office/drawing/2014/main" id="{0E3CC5C2-2D07-49C3-8675-8D878A8DECB6}"/>
                </a:ext>
              </a:extLst>
            </p:cNvPr>
            <p:cNvSpPr txBox="1"/>
            <p:nvPr/>
          </p:nvSpPr>
          <p:spPr>
            <a:xfrm>
              <a:off x="791887" y="1560405"/>
              <a:ext cx="1940683" cy="2998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t>All</a:t>
              </a:r>
            </a:p>
          </p:txBody>
        </p:sp>
      </p:grpSp>
      <p:grpSp>
        <p:nvGrpSpPr>
          <p:cNvPr id="76" name="Gruppieren 32">
            <a:extLst>
              <a:ext uri="{FF2B5EF4-FFF2-40B4-BE49-F238E27FC236}">
                <a16:creationId xmlns:a16="http://schemas.microsoft.com/office/drawing/2014/main" id="{493A8D53-B28C-4F4D-8CEA-66C35DB9251B}"/>
              </a:ext>
            </a:extLst>
          </p:cNvPr>
          <p:cNvGrpSpPr>
            <a:grpSpLocks noChangeAspect="1"/>
          </p:cNvGrpSpPr>
          <p:nvPr/>
        </p:nvGrpSpPr>
        <p:grpSpPr>
          <a:xfrm>
            <a:off x="2806427" y="2147697"/>
            <a:ext cx="2303847" cy="761185"/>
            <a:chOff x="543123" y="1138740"/>
            <a:chExt cx="4309574" cy="980069"/>
          </a:xfrm>
        </p:grpSpPr>
        <p:pic>
          <p:nvPicPr>
            <p:cNvPr id="7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790215A-0D43-4EE0-B735-3157C9FA5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543123" y="1292927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78" name="OE Name">
              <a:extLst>
                <a:ext uri="{FF2B5EF4-FFF2-40B4-BE49-F238E27FC236}">
                  <a16:creationId xmlns:a16="http://schemas.microsoft.com/office/drawing/2014/main" id="{FE7A747A-4866-4ADF-919F-01DD7355E049}"/>
                </a:ext>
              </a:extLst>
            </p:cNvPr>
            <p:cNvSpPr txBox="1"/>
            <p:nvPr/>
          </p:nvSpPr>
          <p:spPr>
            <a:xfrm>
              <a:off x="757227" y="1138740"/>
              <a:ext cx="1940683" cy="4094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</a:t>
              </a:r>
              <a:r>
                <a:rPr lang="de-DE"/>
                <a:t>lose Date</a:t>
              </a:r>
            </a:p>
          </p:txBody>
        </p:sp>
        <p:sp>
          <p:nvSpPr>
            <p:cNvPr id="79" name="Rectangle">
              <a:extLst>
                <a:ext uri="{FF2B5EF4-FFF2-40B4-BE49-F238E27FC236}">
                  <a16:creationId xmlns:a16="http://schemas.microsoft.com/office/drawing/2014/main" id="{88BE0B0F-F2F3-4EC6-AB15-DC05083655B7}"/>
                </a:ext>
              </a:extLst>
            </p:cNvPr>
            <p:cNvSpPr/>
            <p:nvPr/>
          </p:nvSpPr>
          <p:spPr>
            <a:xfrm>
              <a:off x="758666" y="1464494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80" name="All">
              <a:extLst>
                <a:ext uri="{FF2B5EF4-FFF2-40B4-BE49-F238E27FC236}">
                  <a16:creationId xmlns:a16="http://schemas.microsoft.com/office/drawing/2014/main" id="{B329E7FF-5A7A-4D4A-A251-CF0091256547}"/>
                </a:ext>
              </a:extLst>
            </p:cNvPr>
            <p:cNvSpPr txBox="1"/>
            <p:nvPr/>
          </p:nvSpPr>
          <p:spPr>
            <a:xfrm>
              <a:off x="791887" y="1505572"/>
              <a:ext cx="1940683" cy="4094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2-08-01</a:t>
              </a:r>
              <a:endParaRPr/>
            </a:p>
          </p:txBody>
        </p:sp>
      </p:grpSp>
      <p:grpSp>
        <p:nvGrpSpPr>
          <p:cNvPr id="81" name="Gruppieren 29">
            <a:extLst>
              <a:ext uri="{FF2B5EF4-FFF2-40B4-BE49-F238E27FC236}">
                <a16:creationId xmlns:a16="http://schemas.microsoft.com/office/drawing/2014/main" id="{B5084EFE-B368-4758-9BB8-79A3A11AE53B}"/>
              </a:ext>
            </a:extLst>
          </p:cNvPr>
          <p:cNvGrpSpPr>
            <a:grpSpLocks noChangeAspect="1"/>
          </p:cNvGrpSpPr>
          <p:nvPr/>
        </p:nvGrpSpPr>
        <p:grpSpPr>
          <a:xfrm>
            <a:off x="14408374" y="1920360"/>
            <a:ext cx="1954610" cy="1020310"/>
            <a:chOff x="14684787" y="814878"/>
            <a:chExt cx="4309574" cy="1310977"/>
          </a:xfrm>
        </p:grpSpPr>
        <p:pic>
          <p:nvPicPr>
            <p:cNvPr id="8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16A14A8-ECB5-48DA-9B1A-EDC98DFFB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7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83" name="OE Name">
              <a:extLst>
                <a:ext uri="{FF2B5EF4-FFF2-40B4-BE49-F238E27FC236}">
                  <a16:creationId xmlns:a16="http://schemas.microsoft.com/office/drawing/2014/main" id="{0018C800-FC45-4370-AEDC-62D605BC67C6}"/>
                </a:ext>
              </a:extLst>
            </p:cNvPr>
            <p:cNvSpPr txBox="1"/>
            <p:nvPr/>
          </p:nvSpPr>
          <p:spPr>
            <a:xfrm>
              <a:off x="14898891" y="81487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Basis</a:t>
              </a:r>
              <a:endParaRPr/>
            </a:p>
          </p:txBody>
        </p:sp>
        <p:sp>
          <p:nvSpPr>
            <p:cNvPr id="84" name="Rectangle">
              <a:extLst>
                <a:ext uri="{FF2B5EF4-FFF2-40B4-BE49-F238E27FC236}">
                  <a16:creationId xmlns:a16="http://schemas.microsoft.com/office/drawing/2014/main" id="{C262EF5E-8064-4855-A7DE-63143C780105}"/>
                </a:ext>
              </a:extLst>
            </p:cNvPr>
            <p:cNvSpPr/>
            <p:nvPr/>
          </p:nvSpPr>
          <p:spPr>
            <a:xfrm>
              <a:off x="14900331" y="1471540"/>
              <a:ext cx="2367165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85" name="All">
              <a:extLst>
                <a:ext uri="{FF2B5EF4-FFF2-40B4-BE49-F238E27FC236}">
                  <a16:creationId xmlns:a16="http://schemas.microsoft.com/office/drawing/2014/main" id="{4AF87657-B3B1-461C-9BDE-94E171FB930F}"/>
                </a:ext>
              </a:extLst>
            </p:cNvPr>
            <p:cNvSpPr txBox="1"/>
            <p:nvPr/>
          </p:nvSpPr>
          <p:spPr>
            <a:xfrm>
              <a:off x="14933551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UW Year</a:t>
              </a:r>
              <a:endParaRPr/>
            </a:p>
          </p:txBody>
        </p:sp>
      </p:grpSp>
      <p:grpSp>
        <p:nvGrpSpPr>
          <p:cNvPr id="86" name="Gruppieren 29">
            <a:extLst>
              <a:ext uri="{FF2B5EF4-FFF2-40B4-BE49-F238E27FC236}">
                <a16:creationId xmlns:a16="http://schemas.microsoft.com/office/drawing/2014/main" id="{EDAA7FC3-952D-4B79-B4F2-3CE32E37F04E}"/>
              </a:ext>
            </a:extLst>
          </p:cNvPr>
          <p:cNvGrpSpPr>
            <a:grpSpLocks noChangeAspect="1"/>
          </p:cNvGrpSpPr>
          <p:nvPr/>
        </p:nvGrpSpPr>
        <p:grpSpPr>
          <a:xfrm>
            <a:off x="19264631" y="2115909"/>
            <a:ext cx="1954610" cy="824759"/>
            <a:chOff x="14684786" y="1066137"/>
            <a:chExt cx="4309574" cy="1059718"/>
          </a:xfrm>
        </p:grpSpPr>
        <p:pic>
          <p:nvPicPr>
            <p:cNvPr id="8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256B7E06-71FE-4B2D-816D-CA6ABF650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88" name="OE Name">
              <a:extLst>
                <a:ext uri="{FF2B5EF4-FFF2-40B4-BE49-F238E27FC236}">
                  <a16:creationId xmlns:a16="http://schemas.microsoft.com/office/drawing/2014/main" id="{6A59A0C4-E23E-4B0B-8B4C-371320EC4DF6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Calculation Basis</a:t>
              </a:r>
              <a:endParaRPr/>
            </a:p>
          </p:txBody>
        </p:sp>
        <p:sp>
          <p:nvSpPr>
            <p:cNvPr id="89" name="Rectangle">
              <a:extLst>
                <a:ext uri="{FF2B5EF4-FFF2-40B4-BE49-F238E27FC236}">
                  <a16:creationId xmlns:a16="http://schemas.microsoft.com/office/drawing/2014/main" id="{627038FD-02FF-4320-A50D-86CF6437D380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0" name="All">
              <a:extLst>
                <a:ext uri="{FF2B5EF4-FFF2-40B4-BE49-F238E27FC236}">
                  <a16:creationId xmlns:a16="http://schemas.microsoft.com/office/drawing/2014/main" id="{305B6A61-52C6-48D0-AB76-6BE93CA62038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Gross</a:t>
              </a:r>
              <a:endParaRPr/>
            </a:p>
          </p:txBody>
        </p:sp>
      </p:grpSp>
      <p:grpSp>
        <p:nvGrpSpPr>
          <p:cNvPr id="91" name="Gruppieren 29">
            <a:extLst>
              <a:ext uri="{FF2B5EF4-FFF2-40B4-BE49-F238E27FC236}">
                <a16:creationId xmlns:a16="http://schemas.microsoft.com/office/drawing/2014/main" id="{10775430-5427-4BC3-887B-5A7A1606E4BE}"/>
              </a:ext>
            </a:extLst>
          </p:cNvPr>
          <p:cNvGrpSpPr>
            <a:grpSpLocks noChangeAspect="1"/>
          </p:cNvGrpSpPr>
          <p:nvPr/>
        </p:nvGrpSpPr>
        <p:grpSpPr>
          <a:xfrm>
            <a:off x="16703769" y="2062049"/>
            <a:ext cx="2220077" cy="932481"/>
            <a:chOff x="14684786" y="927728"/>
            <a:chExt cx="4309574" cy="1198127"/>
          </a:xfrm>
        </p:grpSpPr>
        <p:pic>
          <p:nvPicPr>
            <p:cNvPr id="92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DB09EEF7-2C96-4097-A74E-2CDB833C9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3" name="OE Name">
              <a:extLst>
                <a:ext uri="{FF2B5EF4-FFF2-40B4-BE49-F238E27FC236}">
                  <a16:creationId xmlns:a16="http://schemas.microsoft.com/office/drawing/2014/main" id="{271EED2F-47B8-4199-A68A-7F43185241AA}"/>
                </a:ext>
              </a:extLst>
            </p:cNvPr>
            <p:cNvSpPr txBox="1"/>
            <p:nvPr/>
          </p:nvSpPr>
          <p:spPr>
            <a:xfrm>
              <a:off x="14898890" y="927728"/>
              <a:ext cx="3688272" cy="685458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de-DE"/>
                <a:t>Year [</a:t>
              </a:r>
              <a:r>
                <a:rPr lang="de-DE">
                  <a:solidFill>
                    <a:srgbClr val="FF0000"/>
                  </a:solidFill>
                </a:rPr>
                <a:t>Multiselectable</a:t>
              </a:r>
              <a:r>
                <a:rPr lang="de-DE"/>
                <a:t>]</a:t>
              </a:r>
              <a:endParaRPr/>
            </a:p>
          </p:txBody>
        </p:sp>
        <p:sp>
          <p:nvSpPr>
            <p:cNvPr id="94" name="Rectangle">
              <a:extLst>
                <a:ext uri="{FF2B5EF4-FFF2-40B4-BE49-F238E27FC236}">
                  <a16:creationId xmlns:a16="http://schemas.microsoft.com/office/drawing/2014/main" id="{EE8D4134-3FC1-41CB-8BB4-CD0374DB17F3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95" name="All">
              <a:extLst>
                <a:ext uri="{FF2B5EF4-FFF2-40B4-BE49-F238E27FC236}">
                  <a16:creationId xmlns:a16="http://schemas.microsoft.com/office/drawing/2014/main" id="{D1CF38EF-33C3-463C-9B24-40FC5AA92EF1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202</a:t>
              </a:r>
              <a:r>
                <a:t>l</a:t>
              </a:r>
            </a:p>
          </p:txBody>
        </p:sp>
      </p:grpSp>
      <p:grpSp>
        <p:nvGrpSpPr>
          <p:cNvPr id="96" name="Gruppieren 29">
            <a:extLst>
              <a:ext uri="{FF2B5EF4-FFF2-40B4-BE49-F238E27FC236}">
                <a16:creationId xmlns:a16="http://schemas.microsoft.com/office/drawing/2014/main" id="{CB940D68-097A-4C55-90F0-0C6F215EFDDA}"/>
              </a:ext>
            </a:extLst>
          </p:cNvPr>
          <p:cNvGrpSpPr>
            <a:grpSpLocks noChangeAspect="1"/>
          </p:cNvGrpSpPr>
          <p:nvPr/>
        </p:nvGrpSpPr>
        <p:grpSpPr>
          <a:xfrm>
            <a:off x="21560024" y="2115909"/>
            <a:ext cx="1954610" cy="824759"/>
            <a:chOff x="14684786" y="1066137"/>
            <a:chExt cx="4309574" cy="1059718"/>
          </a:xfrm>
        </p:grpSpPr>
        <p:pic>
          <p:nvPicPr>
            <p:cNvPr id="97" name="Screenshot 2021-09-03 at 19.51.32.png" descr="Screenshot 2021-09-03 at 19.51.32.png">
              <a:extLst>
                <a:ext uri="{FF2B5EF4-FFF2-40B4-BE49-F238E27FC236}">
                  <a16:creationId xmlns:a16="http://schemas.microsoft.com/office/drawing/2014/main" id="{C6644CF1-364A-4729-9B7F-D37270E7CA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34959" t="19927" r="46351" b="74342"/>
            <a:stretch>
              <a:fillRect/>
            </a:stretch>
          </p:blipFill>
          <p:spPr>
            <a:xfrm>
              <a:off x="14684786" y="1299973"/>
              <a:ext cx="4309574" cy="825882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8" name="OE Name">
              <a:extLst>
                <a:ext uri="{FF2B5EF4-FFF2-40B4-BE49-F238E27FC236}">
                  <a16:creationId xmlns:a16="http://schemas.microsoft.com/office/drawing/2014/main" id="{82399750-B307-4C3B-AB5D-5CE092A6F37F}"/>
                </a:ext>
              </a:extLst>
            </p:cNvPr>
            <p:cNvSpPr txBox="1"/>
            <p:nvPr/>
          </p:nvSpPr>
          <p:spPr>
            <a:xfrm>
              <a:off x="14898890" y="1066137"/>
              <a:ext cx="3688272" cy="408639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NatCat</a:t>
              </a:r>
              <a:endParaRPr/>
            </a:p>
          </p:txBody>
        </p:sp>
        <p:sp>
          <p:nvSpPr>
            <p:cNvPr id="99" name="Rectangle">
              <a:extLst>
                <a:ext uri="{FF2B5EF4-FFF2-40B4-BE49-F238E27FC236}">
                  <a16:creationId xmlns:a16="http://schemas.microsoft.com/office/drawing/2014/main" id="{E933CC53-A089-41B8-AF95-D3CA7F98382B}"/>
                </a:ext>
              </a:extLst>
            </p:cNvPr>
            <p:cNvSpPr/>
            <p:nvPr/>
          </p:nvSpPr>
          <p:spPr>
            <a:xfrm>
              <a:off x="14900329" y="1471540"/>
              <a:ext cx="2367164" cy="419190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>
                <a:highlight>
                  <a:srgbClr val="95DDFB"/>
                </a:highlight>
              </a:endParaRPr>
            </a:p>
          </p:txBody>
        </p:sp>
        <p:sp>
          <p:nvSpPr>
            <p:cNvPr id="100" name="All">
              <a:extLst>
                <a:ext uri="{FF2B5EF4-FFF2-40B4-BE49-F238E27FC236}">
                  <a16:creationId xmlns:a16="http://schemas.microsoft.com/office/drawing/2014/main" id="{B19B1547-5413-4625-996C-452E6FC5C212}"/>
                </a:ext>
              </a:extLst>
            </p:cNvPr>
            <p:cNvSpPr txBox="1"/>
            <p:nvPr/>
          </p:nvSpPr>
          <p:spPr>
            <a:xfrm>
              <a:off x="14933550" y="1513043"/>
              <a:ext cx="1940683" cy="4086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lIns="50800" tIns="50800" rIns="50800" bIns="50800" anchor="ctr">
              <a:spAutoFit/>
            </a:bodyPr>
            <a:lstStyle>
              <a:lvl1pPr algn="l">
                <a:defRPr sz="1400" b="0"/>
              </a:lvl1pPr>
            </a:lstStyle>
            <a:p>
              <a:r>
                <a:rPr lang="en-US"/>
                <a:t>All</a:t>
              </a:r>
              <a:endParaRPr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638133F-68AF-44A8-91C4-F2E3ABA275B3}"/>
              </a:ext>
            </a:extLst>
          </p:cNvPr>
          <p:cNvSpPr/>
          <p:nvPr/>
        </p:nvSpPr>
        <p:spPr>
          <a:xfrm>
            <a:off x="13939293" y="1987826"/>
            <a:ext cx="9850262" cy="1039588"/>
          </a:xfrm>
          <a:prstGeom prst="rect">
            <a:avLst/>
          </a:prstGeom>
          <a:noFill/>
          <a:ln w="38100" cap="flat">
            <a:solidFill>
              <a:srgbClr val="00B05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087375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56424-423E-92A8-CC6F-19035516C9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257603-DCD1-7CD1-FDA0-5EFC1D667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7243" y="5715744"/>
            <a:ext cx="18649948" cy="1774134"/>
          </a:xfrm>
        </p:spPr>
        <p:txBody>
          <a:bodyPr vert="horz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  <a:spcAft>
                <a:spcPts val="2400"/>
              </a:spcAft>
            </a:pPr>
            <a:r>
              <a:rPr lang="en-US" sz="4800" b="0">
                <a:solidFill>
                  <a:schemeClr val="bg2"/>
                </a:solidFill>
                <a:cs typeface="Arial"/>
              </a:rPr>
              <a:t>Analysis of AGCS dashboards against available da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FD62A8-7FE1-4785-95AD-3F2865637294}"/>
              </a:ext>
            </a:extLst>
          </p:cNvPr>
          <p:cNvSpPr txBox="1"/>
          <p:nvPr/>
        </p:nvSpPr>
        <p:spPr>
          <a:xfrm>
            <a:off x="958848" y="944880"/>
            <a:ext cx="5380991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r>
              <a:rPr lang="en-GB" sz="3600">
                <a:solidFill>
                  <a:srgbClr val="FAB600"/>
                </a:solidFill>
              </a:rPr>
              <a:t>Pirmin &amp; Suhas</a:t>
            </a:r>
            <a:endParaRPr lang="de-DE" sz="3600">
              <a:solidFill>
                <a:srgbClr val="FAB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53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0814EF-8BB1-4B1D-9244-0607C0B1AA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6CC9F4-942C-464A-A710-335355556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849" y="1266701"/>
            <a:ext cx="18649948" cy="1073727"/>
          </a:xfrm>
        </p:spPr>
        <p:txBody>
          <a:bodyPr/>
          <a:lstStyle/>
          <a:p>
            <a:r>
              <a:rPr lang="en-US"/>
              <a:t>Collation of AGCS dashboard requirements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1DA361-F295-4A02-AACD-9F33E2E129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Compilation of dashboard requirements from the current capabilities of AGCS dashboar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To develop the foundation version of the dashboard, existing AGCS dashboard was chosen as it had broad range of KPIs that could cover the rest of the OEs’ requiremen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The requirements were analyzed to derive the required data and its granularity to assess the feasibility of the development of the dashboar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The analysis was used to develop the plan to develop the dashboar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Below is the high-level result of the analysis of existing AGCS dashboard-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The unavailable KPIs/fields corresponds to either new business or AGCS specific or a single KPI visualized on different aggregation leve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Detailed table is available in appendix</a:t>
            </a:r>
          </a:p>
          <a:p>
            <a:endParaRPr lang="en-DE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877C3CE-934F-4705-8FDF-61188B0946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4251870"/>
              </p:ext>
            </p:extLst>
          </p:nvPr>
        </p:nvGraphicFramePr>
        <p:xfrm>
          <a:off x="7268220" y="9223809"/>
          <a:ext cx="8212511" cy="3478927"/>
        </p:xfrm>
        <a:graphic>
          <a:graphicData uri="http://schemas.openxmlformats.org/drawingml/2006/table">
            <a:tbl>
              <a:tblPr/>
              <a:tblGrid>
                <a:gridCol w="2923494">
                  <a:extLst>
                    <a:ext uri="{9D8B030D-6E8A-4147-A177-3AD203B41FA5}">
                      <a16:colId xmlns:a16="http://schemas.microsoft.com/office/drawing/2014/main" val="1757050224"/>
                    </a:ext>
                  </a:extLst>
                </a:gridCol>
                <a:gridCol w="1931030">
                  <a:extLst>
                    <a:ext uri="{9D8B030D-6E8A-4147-A177-3AD203B41FA5}">
                      <a16:colId xmlns:a16="http://schemas.microsoft.com/office/drawing/2014/main" val="4255242876"/>
                    </a:ext>
                  </a:extLst>
                </a:gridCol>
                <a:gridCol w="1795998">
                  <a:extLst>
                    <a:ext uri="{9D8B030D-6E8A-4147-A177-3AD203B41FA5}">
                      <a16:colId xmlns:a16="http://schemas.microsoft.com/office/drawing/2014/main" val="2711004497"/>
                    </a:ext>
                  </a:extLst>
                </a:gridCol>
                <a:gridCol w="1561989">
                  <a:extLst>
                    <a:ext uri="{9D8B030D-6E8A-4147-A177-3AD203B41FA5}">
                      <a16:colId xmlns:a16="http://schemas.microsoft.com/office/drawing/2014/main" val="8278966"/>
                    </a:ext>
                  </a:extLst>
                </a:gridCol>
              </a:tblGrid>
              <a:tr h="574500">
                <a:tc>
                  <a:txBody>
                    <a:bodyPr/>
                    <a:lstStyle/>
                    <a:p>
                      <a:pPr algn="ctr" fontAlgn="b"/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ata fields availabili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44866239"/>
                  </a:ext>
                </a:extLst>
              </a:tr>
              <a:tr h="6064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ashboa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Availabl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Not requir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Unavailabl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0712019"/>
                  </a:ext>
                </a:extLst>
              </a:tr>
              <a:tr h="57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lai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5761490"/>
                  </a:ext>
                </a:extLst>
              </a:tr>
              <a:tr h="57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emiu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734397"/>
                  </a:ext>
                </a:extLst>
              </a:tr>
              <a:tr h="57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ic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9186378"/>
                  </a:ext>
                </a:extLst>
              </a:tr>
              <a:tr h="57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te and Retention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DE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8014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868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B475B4-63E1-4B42-8A7E-9E702A1ACF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E6BA69-C23D-43F2-9E3F-61617D63A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alysis of full dashboard requirements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26F763-6700-4515-AB67-EBB18B9F6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Collated the requirements for the dashboard from the user stories on Jira by AZ D, AZ UK and AGCS and created a backlo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Removed the overlapping requests from different OEs</a:t>
            </a:r>
            <a:endParaRPr lang="en-US">
              <a:cs typeface="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Analyzed the tickets to obtain the necessary data and its granularity from CIM</a:t>
            </a:r>
            <a:endParaRPr lang="en-US">
              <a:cs typeface="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Added the obtained list of distinct KPIs across AZ D, AZ UK and AGCS to the existing list of requirements</a:t>
            </a:r>
            <a:endParaRPr lang="en-US">
              <a:cs typeface="Arial" panose="020B0604020202020204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>
              <a:cs typeface="Arial" panose="020B0604020202020204"/>
            </a:endParaRPr>
          </a:p>
          <a:p>
            <a:r>
              <a:rPr lang="en-US">
                <a:cs typeface="Arial" panose="020B0604020202020204"/>
              </a:rPr>
              <a:t>         </a:t>
            </a:r>
            <a:r>
              <a:rPr lang="en-US">
                <a:ea typeface="+mn-lt"/>
                <a:cs typeface="+mn-lt"/>
              </a:rPr>
              <a:t>   </a:t>
            </a:r>
            <a:endParaRPr lang="en-US">
              <a:cs typeface="Arial" panose="020B0604020202020204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B484F979-949B-663D-5F98-D29472D69F1B}"/>
              </a:ext>
            </a:extLst>
          </p:cNvPr>
          <p:cNvSpPr/>
          <p:nvPr/>
        </p:nvSpPr>
        <p:spPr>
          <a:xfrm>
            <a:off x="2890156" y="7342462"/>
            <a:ext cx="1355271" cy="767436"/>
          </a:xfrm>
          <a:prstGeom prst="rightArrow">
            <a:avLst/>
          </a:prstGeom>
          <a:solidFill>
            <a:srgbClr val="122B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405ED1-221A-6F42-683B-00CC7D3E2C20}"/>
              </a:ext>
            </a:extLst>
          </p:cNvPr>
          <p:cNvSpPr txBox="1"/>
          <p:nvPr/>
        </p:nvSpPr>
        <p:spPr>
          <a:xfrm>
            <a:off x="4610042" y="7110627"/>
            <a:ext cx="15163915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defTabSz="1935420" hangingPunct="1"/>
            <a:r>
              <a:rPr lang="en-US" sz="40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DA was commissioned to compile a set of KPIs from the list that can be implemented with existing capacity in Q1 2023.   </a:t>
            </a:r>
            <a:endParaRPr lang="en-US" sz="4000" kern="1200">
              <a:solidFill>
                <a:schemeClr val="bg1"/>
              </a:solidFill>
              <a:latin typeface="+mn-lt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5039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4FA70E-8446-4007-A483-46CABE74EB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D18386-D41B-4EDC-AD50-873AFB55D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rrent capabilities – AGCS</a:t>
            </a:r>
            <a:endParaRPr lang="en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1874B-D167-4152-BA5C-BC740B43B8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199" y="7893130"/>
            <a:ext cx="5616379" cy="30422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78D84D-D951-4F2A-A339-578E9AECA0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010" y="5921243"/>
            <a:ext cx="5616379" cy="304220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06CBF93-FF16-4BF3-ABDB-53400E382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4997" y="4695070"/>
            <a:ext cx="5616379" cy="304220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2E84789-D3AB-4B8D-88B2-66307EB7F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743" y="3173968"/>
            <a:ext cx="5616379" cy="30422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36B38D-CD8B-435D-A40A-C82EC6685C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5801" y="6216173"/>
            <a:ext cx="5616379" cy="30422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E15609-E593-45F2-B259-D0E09D6EB0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5448" y="4695069"/>
            <a:ext cx="5616379" cy="3042205"/>
          </a:xfrm>
          <a:prstGeom prst="rect">
            <a:avLst/>
          </a:prstGeo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5A5A7D5-CF3B-4559-A93A-B84088E7C1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5256" y="3173965"/>
            <a:ext cx="5430966" cy="2941773"/>
          </a:xfrm>
        </p:spPr>
      </p:pic>
    </p:spTree>
    <p:extLst>
      <p:ext uri="{BB962C8B-B14F-4D97-AF65-F5344CB8AC3E}">
        <p14:creationId xmlns:p14="http://schemas.microsoft.com/office/powerpoint/2010/main" val="3080553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EDABEC-9A39-47E8-9ADC-28143FC7CB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ACE5FE-C1C9-4B12-B44A-18BB32BDF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requirements from JIRA</a:t>
            </a:r>
            <a:endParaRPr lang="en-DE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3DBC7F4-2B98-4F04-8420-F91C69EB1D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1612" y="5101163"/>
            <a:ext cx="10737653" cy="6470615"/>
          </a:xfrm>
          <a:ln>
            <a:solidFill>
              <a:schemeClr val="bg1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7C0C09-D2E3-4B94-9204-1374B321F67A}"/>
              </a:ext>
            </a:extLst>
          </p:cNvPr>
          <p:cNvSpPr txBox="1"/>
          <p:nvPr/>
        </p:nvSpPr>
        <p:spPr>
          <a:xfrm>
            <a:off x="1074821" y="2967789"/>
            <a:ext cx="11261558" cy="45880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US" sz="1600">
                <a:solidFill>
                  <a:schemeClr val="bg1"/>
                </a:solidFill>
              </a:rPr>
              <a:t>Example user story for dashboard requirement: </a:t>
            </a:r>
            <a:r>
              <a:rPr lang="en-US" sz="1600">
                <a:solidFill>
                  <a:schemeClr val="bg1"/>
                </a:solidFill>
                <a:hlinkClick r:id="rId3"/>
              </a:rPr>
              <a:t>link</a:t>
            </a:r>
            <a:endParaRPr lang="en-DE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9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Dash"/>
  <p:tag name="NAME" val="CheckmarkDash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Filter"/>
  <p:tag name="NAME" val="Filt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StatusGauge"/>
  <p:tag name="CIRCLESTATUS" val="Blue"/>
  <p:tag name="NAME" val="StatusGaugeBl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CIRCLESTATUS" val="Blue"/>
  <p:tag name="NAME" val="CheckmarkBl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Dash"/>
  <p:tag name="CIRCLESTATUS" val="Blue"/>
  <p:tag name="NAME" val="CheckmarkDashBl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Blue"/>
  <p:tag name="NAME" val="XBl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Filter"/>
  <p:tag name="CIRCLESTATUS" val="Blue"/>
  <p:tag name="NAME" val="FilterBl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NAME" val="Chevr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LineArrow"/>
  <p:tag name="NAME" val="LineArr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oubleArrow"/>
  <p:tag name="NAME" val="DoubleArr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White"/>
  <p:tag name="NAME" val="Chevron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LineArrow"/>
  <p:tag name="CIRCLESTATUS" val="White"/>
  <p:tag name="NAME" val="LineArrowWhi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oubleArrow"/>
  <p:tag name="CIRCLESTATUS" val="White"/>
  <p:tag name="NAME" val="DoubleArrow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LineArrow"/>
  <p:tag name="CIRCLESTATUS" val="Blue"/>
  <p:tag name="NAME" val="LineArrowB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oubleArrow"/>
  <p:tag name="CIRCLESTATUS" val="Blue"/>
  <p:tag name="NAME" val="DoubleArrowBl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estionMark"/>
  <p:tag name="NAME" val="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Asterisk"/>
  <p:tag name="NAME" val="Asteris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xclamationMark"/>
  <p:tag name="NAME" val="Exclama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NAME" val="QuotationMark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estionMark"/>
  <p:tag name="CIRCLESTATUS" val="White"/>
  <p:tag name="NAME" val="QuestionMarkWhi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Asterisk"/>
  <p:tag name="CIRCLESTATUS" val="White"/>
  <p:tag name="NAME" val="AsteriskWhi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xclamationMark"/>
  <p:tag name="CIRCLESTATUS" val="White"/>
  <p:tag name="NAME" val="ExclamationMarkWhi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estionMark"/>
  <p:tag name="CIRCLESTATUS" val="Blue"/>
  <p:tag name="NAME" val="QuestionMark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Asterisk"/>
  <p:tag name="CIRCLESTATUS" val="Blue"/>
  <p:tag name="NAME" val="AsteriskBl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xclamationMark"/>
  <p:tag name="CIRCLESTATUS" val="Blue"/>
  <p:tag name="NAME" val="ExclamationMarkBl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Blue"/>
  <p:tag name="NAME" val="QuotationMarksBl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NAME" val="PlusSig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ivisionSign"/>
  <p:tag name="NAME" val="DivisionSig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qualSign"/>
  <p:tag name="NAME" val="EqualSig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NAME" val="MinusSig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White"/>
  <p:tag name="NAME" val="PlusSignWhi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White"/>
  <p:tag name="NAME" val="XWhi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ivisionSign"/>
  <p:tag name="CIRCLESTATUS" val="White"/>
  <p:tag name="NAME" val="DivisionSignWhi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qualSign"/>
  <p:tag name="CIRCLESTATUS" val="White"/>
  <p:tag name="NAME" val="EqualSignWhi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White"/>
  <p:tag name="NAME" val="MinusSign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Whi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Blue"/>
  <p:tag name="NAME" val="PlusSignBl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Blue"/>
  <p:tag name="NAME" val="XBl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DivisionSign"/>
  <p:tag name="CIRCLESTATUS" val="Blue"/>
  <p:tag name="NAME" val="DivisionSignBl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EqualSign"/>
  <p:tag name="CIRCLESTATUS" val="Blue"/>
  <p:tag name="NAME" val="EqualSignBl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Blue"/>
  <p:tag name="NAME" val="MinusSignBl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StatusGauge"/>
  <p:tag name="CIRCLESTATUS" val="White"/>
  <p:tag name="NAME" val="StatusGaugeWhi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CIRCLESTATUS" val="White"/>
  <p:tag name="NAME" val="CheckmarkWhi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Dash"/>
  <p:tag name="CIRCLESTATUS" val="White"/>
  <p:tag name="NAME" val="CheckmarkDashWhi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White"/>
  <p:tag name="NAME" val="XWhi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Filter"/>
  <p:tag name="CIRCLESTATUS" val="White"/>
  <p:tag name="NAME" val="Filter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Bl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StatusGauge"/>
  <p:tag name="NAME" val="StatusGaug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_2.potx" id="{BDEB0E28-CD62-4F68-B02D-6F9C01032E96}" vid="{08400C5C-446E-47DA-961F-FEB8852D2A55}"/>
    </a:ext>
  </a:extLst>
</a:theme>
</file>

<file path=ppt/theme/theme3.xml><?xml version="1.0" encoding="utf-8"?>
<a:theme xmlns:a="http://schemas.openxmlformats.org/drawingml/2006/main" name="White_EN_1256UH_16x9_MOF_v2">
  <a:themeElements>
    <a:clrScheme name="Scheme1">
      <a:dk1>
        <a:srgbClr val="FFFFFF"/>
      </a:dk1>
      <a:lt1>
        <a:srgbClr val="003781"/>
      </a:lt1>
      <a:dk2>
        <a:srgbClr val="CFCFCF"/>
      </a:dk2>
      <a:lt2>
        <a:srgbClr val="414141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bg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sp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Scheme1">
        <a:dk1>
          <a:srgbClr val="FFFFFF"/>
        </a:dk1>
        <a:lt1>
          <a:srgbClr val="003781"/>
        </a:lt1>
        <a:dk2>
          <a:srgbClr val="CFCFCF"/>
        </a:dk2>
        <a:lt2>
          <a:srgbClr val="414141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EN_1256UH_16x9_MOF_v2.potx" id="{9112FA00-CA22-47F8-BC9A-85AC938BE06C}" vid="{F3ED5886-C27F-481B-8DAF-10F31BDD8B5D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AB6B79375F34E9D381270D1F5E622" ma:contentTypeVersion="18" ma:contentTypeDescription="Create a new document." ma:contentTypeScope="" ma:versionID="3cd396bf59f1103a26134e8238af104d">
  <xsd:schema xmlns:xsd="http://www.w3.org/2001/XMLSchema" xmlns:xs="http://www.w3.org/2001/XMLSchema" xmlns:p="http://schemas.microsoft.com/office/2006/metadata/properties" xmlns:ns1="http://schemas.microsoft.com/sharepoint/v3" xmlns:ns2="5b2f868c-8f92-4251-9c5c-5006411a5d63" xmlns:ns3="0f693eaa-2d88-41b4-a1c1-32ba42dc72ad" targetNamespace="http://schemas.microsoft.com/office/2006/metadata/properties" ma:root="true" ma:fieldsID="8eefaf743d75817a01829804821293b8" ns1:_="" ns2:_="" ns3:_="">
    <xsd:import namespace="http://schemas.microsoft.com/sharepoint/v3"/>
    <xsd:import namespace="5b2f868c-8f92-4251-9c5c-5006411a5d63"/>
    <xsd:import namespace="0f693eaa-2d88-41b4-a1c1-32ba42dc72ad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internalName="DocumentSetDescription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2f868c-8f92-4251-9c5c-5006411a5d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693eaa-2d88-41b4-a1c1-32ba42dc72a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8d801aa8-04bd-48eb-82b9-c99783f147a3}" ma:internalName="TaxCatchAll" ma:showField="CatchAllData" ma:web="0f693eaa-2d88-41b4-a1c1-32ba42dc72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DocumentSetDescription xmlns="http://schemas.microsoft.com/sharepoint/v3" xsi:nil="true"/>
    <_ip_UnifiedCompliancePolicyProperties xmlns="http://schemas.microsoft.com/sharepoint/v3" xsi:nil="true"/>
    <lcf76f155ced4ddcb4097134ff3c332f xmlns="5b2f868c-8f92-4251-9c5c-5006411a5d63">
      <Terms xmlns="http://schemas.microsoft.com/office/infopath/2007/PartnerControls"/>
    </lcf76f155ced4ddcb4097134ff3c332f>
    <TaxCatchAll xmlns="0f693eaa-2d88-41b4-a1c1-32ba42dc72ad" xsi:nil="true"/>
  </documentManagement>
</p:properties>
</file>

<file path=customXml/itemProps1.xml><?xml version="1.0" encoding="utf-8"?>
<ds:datastoreItem xmlns:ds="http://schemas.openxmlformats.org/officeDocument/2006/customXml" ds:itemID="{2EC4BD65-9B01-4828-B1F8-4A885C9E8BC0}"/>
</file>

<file path=customXml/itemProps2.xml><?xml version="1.0" encoding="utf-8"?>
<ds:datastoreItem xmlns:ds="http://schemas.openxmlformats.org/officeDocument/2006/customXml" ds:itemID="{7A1DA717-8FA9-4A92-AFCD-C1DCDC97BEAC}"/>
</file>

<file path=customXml/itemProps3.xml><?xml version="1.0" encoding="utf-8"?>
<ds:datastoreItem xmlns:ds="http://schemas.openxmlformats.org/officeDocument/2006/customXml" ds:itemID="{6FACC378-3BAA-4C6A-8E2E-AF07775022EB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83</Words>
  <Application>Microsoft Office PowerPoint</Application>
  <PresentationFormat>Custom</PresentationFormat>
  <Paragraphs>1936</Paragraphs>
  <Slides>45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9" baseType="lpstr">
      <vt:lpstr>-apple-system</vt:lpstr>
      <vt:lpstr>Arial</vt:lpstr>
      <vt:lpstr>Arial,Sans-Serif</vt:lpstr>
      <vt:lpstr>Calibri</vt:lpstr>
      <vt:lpstr>Courier New</vt:lpstr>
      <vt:lpstr>Helvetica Neue</vt:lpstr>
      <vt:lpstr>Helvetica Neue Light</vt:lpstr>
      <vt:lpstr>Helvetica Neue Medium</vt:lpstr>
      <vt:lpstr>Segoe UI</vt:lpstr>
      <vt:lpstr>Symbol</vt:lpstr>
      <vt:lpstr>White</vt:lpstr>
      <vt:lpstr>Content charts white</vt:lpstr>
      <vt:lpstr>White_EN_1256UH_16x9_MOF_v2</vt:lpstr>
      <vt:lpstr>think-cell Slide</vt:lpstr>
      <vt:lpstr>ALEx MIS</vt:lpstr>
      <vt:lpstr>PowerPoint Presentation</vt:lpstr>
      <vt:lpstr>PowerPoint Presentation</vt:lpstr>
      <vt:lpstr>PowerPoint Presentation</vt:lpstr>
      <vt:lpstr>Analysis of AGCS dashboards against available data</vt:lpstr>
      <vt:lpstr>Collation of AGCS dashboard requirements</vt:lpstr>
      <vt:lpstr>Analysis of full dashboard requirements</vt:lpstr>
      <vt:lpstr>Current capabilities – AGCS</vt:lpstr>
      <vt:lpstr>Additional requirements from JIRA</vt:lpstr>
      <vt:lpstr>ALEx MVP Dashboard capabilities</vt:lpstr>
      <vt:lpstr>ALEx MVP Dashboard capabilities</vt:lpstr>
      <vt:lpstr>ALEx MVP Dashboard capabilities</vt:lpstr>
      <vt:lpstr>ALEx MVP Dashboard capabilities</vt:lpstr>
      <vt:lpstr>Set Up Consumption Layer</vt:lpstr>
      <vt:lpstr>Model Consumption Layer</vt:lpstr>
      <vt:lpstr>Analysis of foundation dashboard requirements</vt:lpstr>
      <vt:lpstr>Technical Specification of Metrics and KPI</vt:lpstr>
      <vt:lpstr>End of Quarter 1 2023</vt:lpstr>
      <vt:lpstr>ALEx Foundation Dashboard Scope</vt:lpstr>
      <vt:lpstr>Available Business KPIs</vt:lpstr>
      <vt:lpstr>Available Business KPIs</vt:lpstr>
      <vt:lpstr>ALEx Foundational Dashboard Scope</vt:lpstr>
      <vt:lpstr>Appendix</vt:lpstr>
      <vt:lpstr>AGCS current KPIs data availability</vt:lpstr>
      <vt:lpstr>AGCS current KPIs data availability</vt:lpstr>
      <vt:lpstr>Proposed global industry segmentation layer</vt:lpstr>
      <vt:lpstr>Available Business KPIs</vt:lpstr>
      <vt:lpstr>ALEX Dashboard</vt:lpstr>
      <vt:lpstr>Available Filters</vt:lpstr>
      <vt:lpstr>Mockups</vt:lpstr>
      <vt:lpstr>PowerPoint Presentation</vt:lpstr>
      <vt:lpstr>PowerPoint Presentation</vt:lpstr>
      <vt:lpstr>Claims</vt:lpstr>
      <vt:lpstr>PowerPoint Presentation</vt:lpstr>
      <vt:lpstr>PowerPoint Presentation</vt:lpstr>
      <vt:lpstr>Portfolio Performance</vt:lpstr>
      <vt:lpstr>PowerPoint Presentation</vt:lpstr>
      <vt:lpstr>PowerPoint Presentation</vt:lpstr>
      <vt:lpstr>Exposure &amp; Accumulation</vt:lpstr>
      <vt:lpstr>PowerPoint Presentation</vt:lpstr>
      <vt:lpstr>PowerPoint Presentation</vt:lpstr>
      <vt:lpstr>Customer Profile</vt:lpstr>
      <vt:lpstr>PowerPoint Presentation</vt:lpstr>
      <vt:lpstr>Data 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ch customers are unprofitable?</dc:title>
  <dc:creator>Pousada Alvarez, Jennifer (Allianz SE)</dc:creator>
  <cp:lastModifiedBy>Karanth, Suhas (Allianz SE)</cp:lastModifiedBy>
  <cp:revision>4</cp:revision>
  <dcterms:modified xsi:type="dcterms:W3CDTF">2023-02-15T14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2-12-15T11:53:36Z</vt:lpwstr>
  </property>
  <property fmtid="{D5CDD505-2E9C-101B-9397-08002B2CF9AE}" pid="4" name="MSIP_Label_863bc15e-e7bf-41c1-bdb3-03882d8a2e2c_Method">
    <vt:lpwstr>Privilege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31856977-2581-440e-8798-595ba56e82ef</vt:lpwstr>
  </property>
  <property fmtid="{D5CDD505-2E9C-101B-9397-08002B2CF9AE}" pid="8" name="MSIP_Label_863bc15e-e7bf-41c1-bdb3-03882d8a2e2c_ContentBits">
    <vt:lpwstr>1</vt:lpwstr>
  </property>
  <property fmtid="{D5CDD505-2E9C-101B-9397-08002B2CF9AE}" pid="9" name="ContentTypeId">
    <vt:lpwstr>0x0101000C5AB6B79375F34E9D381270D1F5E622</vt:lpwstr>
  </property>
</Properties>
</file>